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1.xml" ContentType="application/vnd.openxmlformats-officedocument.presentationml.tags+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60" r:id="rId4"/>
    <p:sldMasterId id="2147483779" r:id="rId5"/>
  </p:sldMasterIdLst>
  <p:notesMasterIdLst>
    <p:notesMasterId r:id="rId19"/>
  </p:notesMasterIdLst>
  <p:handoutMasterIdLst>
    <p:handoutMasterId r:id="rId20"/>
  </p:handoutMasterIdLst>
  <p:sldIdLst>
    <p:sldId id="295" r:id="rId6"/>
    <p:sldId id="293" r:id="rId7"/>
    <p:sldId id="257" r:id="rId8"/>
    <p:sldId id="294" r:id="rId9"/>
    <p:sldId id="296" r:id="rId10"/>
    <p:sldId id="303" r:id="rId11"/>
    <p:sldId id="301" r:id="rId12"/>
    <p:sldId id="299" r:id="rId13"/>
    <p:sldId id="304" r:id="rId14"/>
    <p:sldId id="305" r:id="rId15"/>
    <p:sldId id="300" r:id="rId16"/>
    <p:sldId id="291" r:id="rId17"/>
    <p:sldId id="292" r:id="rId18"/>
  </p:sldIdLst>
  <p:sldSz cx="12188825" cy="6858000"/>
  <p:notesSz cx="6858000" cy="9296400"/>
  <p:embeddedFontLst>
    <p:embeddedFont>
      <p:font typeface="Consolas" panose="020B0609020204030204" pitchFamily="49" charset="0"/>
      <p:regular r:id="rId21"/>
      <p:bold r:id="rId22"/>
      <p:italic r:id="rId23"/>
      <p:boldItalic r:id="rId24"/>
    </p:embeddedFont>
    <p:embeddedFont>
      <p:font typeface="Segoe Light" panose="020B0604020202020204" charset="0"/>
      <p:regular r:id="rId25"/>
      <p:italic r:id="rId26"/>
    </p:embeddedFont>
    <p:embeddedFont>
      <p:font typeface="Segoe UI Light" panose="020B0502040204020203" pitchFamily="34" charset="0"/>
      <p:regular r:id="rId27"/>
      <p:italic r:id="rId28"/>
    </p:embeddedFont>
    <p:embeddedFont>
      <p:font typeface="Segoe UI" panose="020B0502040204020203" pitchFamily="34" charset="0"/>
      <p:regular r:id="rId29"/>
      <p:bold r:id="rId30"/>
      <p:italic r:id="rId31"/>
      <p:boldItalic r:id="rId32"/>
    </p:embeddedFont>
  </p:embeddedFontLst>
  <p:custDataLst>
    <p:tags r:id="rId33"/>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guide id="8" pos="3829">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CFC"/>
    <a:srgbClr val="FFFFFF"/>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72727" autoAdjust="0"/>
  </p:normalViewPr>
  <p:slideViewPr>
    <p:cSldViewPr snapToGrid="0">
      <p:cViewPr varScale="1">
        <p:scale>
          <a:sx n="40" d="100"/>
          <a:sy n="40" d="100"/>
        </p:scale>
        <p:origin x="1134" y="60"/>
      </p:cViewPr>
      <p:guideLst>
        <p:guide orient="horz" pos="895"/>
        <p:guide orient="horz" pos="719"/>
        <p:guide orient="horz" pos="4166"/>
        <p:guide orient="horz" pos="3937"/>
        <p:guide orient="horz" pos="1068"/>
        <p:guide pos="326"/>
        <p:guide pos="7355"/>
        <p:guide pos="3829"/>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6.fntdata"/><Relationship Id="rId3" Type="http://schemas.openxmlformats.org/officeDocument/2006/relationships/customXml" Target="../customXml/item3.xml"/><Relationship Id="rId21" Type="http://schemas.openxmlformats.org/officeDocument/2006/relationships/font" Target="fonts/font1.fntdata"/><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5.fntdata"/><Relationship Id="rId33"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29"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4.fntdata"/><Relationship Id="rId32" Type="http://schemas.openxmlformats.org/officeDocument/2006/relationships/font" Target="fonts/font12.fntdata"/><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3.fntdata"/><Relationship Id="rId28" Type="http://schemas.openxmlformats.org/officeDocument/2006/relationships/font" Target="fonts/font8.fntdata"/><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notesMaster" Target="notesMasters/notesMaster1.xml"/><Relationship Id="rId31" Type="http://schemas.openxmlformats.org/officeDocument/2006/relationships/font" Target="fonts/font11.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35"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EC96CC-6899-43CC-99D8-2B5B67C93827}">
      <dgm:prSet/>
      <dgm:spPr/>
      <dgm:t>
        <a:bodyPr/>
        <a:lstStyle/>
        <a:p>
          <a:pPr rtl="0"/>
          <a:r>
            <a:rPr lang="en-US" baseline="0" dirty="0" smtClean="0"/>
            <a:t>NuGet</a:t>
          </a:r>
          <a:endParaRPr lang="en-US" dirty="0"/>
        </a:p>
      </dgm:t>
    </dgm:pt>
    <dgm:pt modelId="{19BEF542-9A55-4227-958B-7672C8A3F132}" type="parTrans" cxnId="{C49FD9FD-EB55-478E-9BF8-7A33842FBAC1}">
      <dgm:prSet/>
      <dgm:spPr/>
    </dgm:pt>
    <dgm:pt modelId="{1108C22D-D867-484A-A5AB-C27F9AE80D39}" type="sibTrans" cxnId="{C49FD9FD-EB55-478E-9BF8-7A33842FBAC1}">
      <dgm:prSet/>
      <dgm:spPr/>
    </dgm:pt>
    <dgm:pt modelId="{BFC0E547-38ED-4BF5-BBFB-41676C651BA4}">
      <dgm:prSet/>
      <dgm:spPr/>
      <dgm:t>
        <a:bodyPr/>
        <a:lstStyle/>
        <a:p>
          <a:pPr rtl="0"/>
          <a:r>
            <a:rPr lang="en-US" dirty="0" smtClean="0"/>
            <a:t>ASP.NET</a:t>
          </a:r>
          <a:endParaRPr lang="en-US" dirty="0"/>
        </a:p>
      </dgm:t>
    </dgm:pt>
    <dgm:pt modelId="{E3527B9A-8B18-4A98-921F-1E462ED07972}" type="parTrans" cxnId="{709C3368-009F-4231-A3CE-749F9BB189CC}">
      <dgm:prSet/>
      <dgm:spPr/>
    </dgm:pt>
    <dgm:pt modelId="{E2E33C33-F5A2-45C5-AF56-0BB04A49ABE7}" type="sibTrans" cxnId="{709C3368-009F-4231-A3CE-749F9BB189CC}">
      <dgm:prSet/>
      <dgm:spPr/>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BFD6C2D9-8EAF-4814-9068-92EC26CD3430}" type="pres">
      <dgm:prSet presAssocID="{17EC96CC-6899-43CC-99D8-2B5B67C93827}" presName="node" presStyleLbl="node1" presStyleIdx="1" presStyleCnt="4">
        <dgm:presLayoutVars>
          <dgm:bulletEnabled val="1"/>
        </dgm:presLayoutVars>
      </dgm:prSet>
      <dgm:spPr/>
      <dgm:t>
        <a:bodyPr/>
        <a:lstStyle/>
        <a:p>
          <a:endParaRPr lang="en-US"/>
        </a:p>
      </dgm:t>
    </dgm:pt>
    <dgm:pt modelId="{EC02AEF8-BB51-41CC-AC54-784DB938A98C}" type="pres">
      <dgm:prSet presAssocID="{1108C22D-D867-484A-A5AB-C27F9AE80D39}" presName="sibTrans" presStyleCnt="0"/>
      <dgm:spPr/>
    </dgm:pt>
    <dgm:pt modelId="{C12961E1-1B5A-4A16-B7D5-F0E2A81007BC}" type="pres">
      <dgm:prSet presAssocID="{BFC0E547-38ED-4BF5-BBFB-41676C651BA4}" presName="node" presStyleLbl="node1" presStyleIdx="2" presStyleCnt="4">
        <dgm:presLayoutVars>
          <dgm:bulletEnabled val="1"/>
        </dgm:presLayoutVars>
      </dgm:prSet>
      <dgm:spPr/>
      <dgm:t>
        <a:bodyPr/>
        <a:lstStyle/>
        <a:p>
          <a:endParaRPr lang="en-US"/>
        </a:p>
      </dgm:t>
    </dgm:pt>
    <dgm:pt modelId="{C30E35A3-FC57-42FA-B43B-70825F5A7012}" type="pres">
      <dgm:prSet presAssocID="{E2E33C33-F5A2-45C5-AF56-0BB04A49ABE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D96560EA-1BDF-465E-A73D-772259246518}" type="presOf" srcId="{ACD2CAE5-6CA8-422A-A552-FA71416125D4}" destId="{81B22F2D-5B8A-447B-B1AF-78E703F0FBA8}" srcOrd="0" destOrd="0" presId="urn:microsoft.com/office/officeart/2005/8/layout/default"/>
    <dgm:cxn modelId="{C49FD9FD-EB55-478E-9BF8-7A33842FBAC1}" srcId="{48914873-C460-43A6-8A7F-9F5DC4D43744}" destId="{17EC96CC-6899-43CC-99D8-2B5B67C93827}" srcOrd="1" destOrd="0" parTransId="{19BEF542-9A55-4227-958B-7672C8A3F132}" sibTransId="{1108C22D-D867-484A-A5AB-C27F9AE80D39}"/>
    <dgm:cxn modelId="{0E487D11-6FF8-4D31-9674-E34AEC0327EA}" srcId="{48914873-C460-43A6-8A7F-9F5DC4D43744}" destId="{ACD2CAE5-6CA8-422A-A552-FA71416125D4}" srcOrd="0" destOrd="0" parTransId="{1CCBF95C-50B4-4AE2-BF6C-988A97E3766F}" sibTransId="{0EE29A21-DDDC-40E2-8756-7355AC783842}"/>
    <dgm:cxn modelId="{F6C61DE8-B66C-4359-AB57-122AFC85DF71}" type="presOf" srcId="{2E47A735-2E54-47D4-8D7B-43DAE317DE22}" destId="{5222C5B1-7198-4817-8170-EA15671F32D9}" srcOrd="0" destOrd="0" presId="urn:microsoft.com/office/officeart/2005/8/layout/default"/>
    <dgm:cxn modelId="{709C3368-009F-4231-A3CE-749F9BB189CC}" srcId="{48914873-C460-43A6-8A7F-9F5DC4D43744}" destId="{BFC0E547-38ED-4BF5-BBFB-41676C651BA4}" srcOrd="2" destOrd="0" parTransId="{E3527B9A-8B18-4A98-921F-1E462ED07972}" sibTransId="{E2E33C33-F5A2-45C5-AF56-0BB04A49ABE7}"/>
    <dgm:cxn modelId="{210DAFA6-EEC8-4F6E-B76F-5AEBD2A40B9C}" type="presOf" srcId="{17EC96CC-6899-43CC-99D8-2B5B67C93827}" destId="{BFD6C2D9-8EAF-4814-9068-92EC26CD3430}"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3EA1D815-15C9-4362-9231-36556940565F}" type="presOf" srcId="{BFC0E547-38ED-4BF5-BBFB-41676C651BA4}" destId="{C12961E1-1B5A-4A16-B7D5-F0E2A81007BC}" srcOrd="0" destOrd="0" presId="urn:microsoft.com/office/officeart/2005/8/layout/default"/>
    <dgm:cxn modelId="{68A62DA9-FA31-4855-8411-B43973CB0D3C}" type="presOf" srcId="{48914873-C460-43A6-8A7F-9F5DC4D43744}" destId="{17397D43-AE20-4DE6-BB81-F05A7B561DB3}" srcOrd="0" destOrd="0" presId="urn:microsoft.com/office/officeart/2005/8/layout/default"/>
    <dgm:cxn modelId="{B4EBC5F4-7055-40D5-A63A-DEAD00BB7CC7}" type="presParOf" srcId="{17397D43-AE20-4DE6-BB81-F05A7B561DB3}" destId="{81B22F2D-5B8A-447B-B1AF-78E703F0FBA8}" srcOrd="0" destOrd="0" presId="urn:microsoft.com/office/officeart/2005/8/layout/default"/>
    <dgm:cxn modelId="{6F668586-B5E1-45C5-ABE5-9783F5741837}" type="presParOf" srcId="{17397D43-AE20-4DE6-BB81-F05A7B561DB3}" destId="{06199EA7-9AD7-47F3-B47F-9C74788B88C1}" srcOrd="1" destOrd="0" presId="urn:microsoft.com/office/officeart/2005/8/layout/default"/>
    <dgm:cxn modelId="{290C2511-4B48-4E84-A796-4FF09DA8EE42}" type="presParOf" srcId="{17397D43-AE20-4DE6-BB81-F05A7B561DB3}" destId="{BFD6C2D9-8EAF-4814-9068-92EC26CD3430}" srcOrd="2" destOrd="0" presId="urn:microsoft.com/office/officeart/2005/8/layout/default"/>
    <dgm:cxn modelId="{91AAD72D-56A0-49D2-8CB2-6D379D98ADDE}" type="presParOf" srcId="{17397D43-AE20-4DE6-BB81-F05A7B561DB3}" destId="{EC02AEF8-BB51-41CC-AC54-784DB938A98C}" srcOrd="3" destOrd="0" presId="urn:microsoft.com/office/officeart/2005/8/layout/default"/>
    <dgm:cxn modelId="{4375BA74-9AD7-4731-B50F-EA9458F0A89C}" type="presParOf" srcId="{17397D43-AE20-4DE6-BB81-F05A7B561DB3}" destId="{C12961E1-1B5A-4A16-B7D5-F0E2A81007BC}" srcOrd="4" destOrd="0" presId="urn:microsoft.com/office/officeart/2005/8/layout/default"/>
    <dgm:cxn modelId="{930904FE-20BA-41CA-B9CB-5AF640E13498}" type="presParOf" srcId="{17397D43-AE20-4DE6-BB81-F05A7B561DB3}" destId="{C30E35A3-FC57-42FA-B43B-70825F5A7012}" srcOrd="5" destOrd="0" presId="urn:microsoft.com/office/officeart/2005/8/layout/default"/>
    <dgm:cxn modelId="{BA2247F8-7B47-459F-9B50-32385ADCC7C6}"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E0E45FE1-D0D2-40A3-A6F3-1AA1CCD07210}">
      <dgm:prSet/>
      <dgm:spPr/>
      <dgm:t>
        <a:bodyPr/>
        <a:lstStyle/>
        <a:p>
          <a:pPr rtl="0"/>
          <a:r>
            <a:rPr lang="en-US" dirty="0" smtClean="0"/>
            <a:t>NuGet</a:t>
          </a:r>
          <a:endParaRPr lang="en-US" dirty="0"/>
        </a:p>
      </dgm:t>
    </dgm:pt>
    <dgm:pt modelId="{B6989271-9095-4A3F-80CC-A04E4AED6ED7}" type="parTrans" cxnId="{AA937E7F-3D24-4F23-8BCD-6B302A2368E0}">
      <dgm:prSet/>
      <dgm:spPr/>
      <dgm:t>
        <a:bodyPr/>
        <a:lstStyle/>
        <a:p>
          <a:endParaRPr lang="en-US"/>
        </a:p>
      </dgm:t>
    </dgm:pt>
    <dgm:pt modelId="{3913F38B-4F95-4C55-827A-D361D83F0CFA}" type="sibTrans" cxnId="{AA937E7F-3D24-4F23-8BCD-6B302A2368E0}">
      <dgm:prSet/>
      <dgm:spPr/>
      <dgm:t>
        <a:bodyPr/>
        <a:lstStyle/>
        <a:p>
          <a:endParaRPr lang="en-US"/>
        </a:p>
      </dgm:t>
    </dgm:pt>
    <dgm:pt modelId="{F19B3A84-1E58-4EA4-BC8E-88EE9EC875F3}">
      <dgm:prSet/>
      <dgm:spPr/>
      <dgm:t>
        <a:bodyPr/>
        <a:lstStyle/>
        <a:p>
          <a:pPr rtl="0"/>
          <a:r>
            <a:rPr lang="en-US" dirty="0" smtClean="0"/>
            <a:t>ASP.NET</a:t>
          </a:r>
          <a:endParaRPr lang="en-US" dirty="0"/>
        </a:p>
      </dgm:t>
    </dgm:pt>
    <dgm:pt modelId="{2D072C30-8905-4EB1-BA78-E3A6775D6F0E}" type="parTrans" cxnId="{5949F08B-1C36-4CA3-BB6A-2EE419884BF8}">
      <dgm:prSet/>
      <dgm:spPr/>
      <dgm:t>
        <a:bodyPr/>
        <a:lstStyle/>
        <a:p>
          <a:endParaRPr lang="en-US"/>
        </a:p>
      </dgm:t>
    </dgm:pt>
    <dgm:pt modelId="{8B95A16F-26AB-438C-A479-8F0CDEC03FDD}" type="sibTrans" cxnId="{5949F08B-1C36-4CA3-BB6A-2EE419884BF8}">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6EBA3DC2-F638-4273-8776-F3FE0A081A64}" type="pres">
      <dgm:prSet presAssocID="{E0E45FE1-D0D2-40A3-A6F3-1AA1CCD07210}" presName="node" presStyleLbl="node1" presStyleIdx="1" presStyleCnt="4">
        <dgm:presLayoutVars>
          <dgm:bulletEnabled val="1"/>
        </dgm:presLayoutVars>
      </dgm:prSet>
      <dgm:spPr/>
      <dgm:t>
        <a:bodyPr/>
        <a:lstStyle/>
        <a:p>
          <a:endParaRPr lang="en-US"/>
        </a:p>
      </dgm:t>
    </dgm:pt>
    <dgm:pt modelId="{37010295-AF1F-4C13-A664-2E34FA8C29AB}" type="pres">
      <dgm:prSet presAssocID="{3913F38B-4F95-4C55-827A-D361D83F0CFA}" presName="sibTrans" presStyleCnt="0"/>
      <dgm:spPr/>
    </dgm:pt>
    <dgm:pt modelId="{FA43EED7-ABA6-4223-8AF3-2238502642FA}" type="pres">
      <dgm:prSet presAssocID="{F19B3A84-1E58-4EA4-BC8E-88EE9EC875F3}" presName="node" presStyleLbl="node1" presStyleIdx="2" presStyleCnt="4">
        <dgm:presLayoutVars>
          <dgm:bulletEnabled val="1"/>
        </dgm:presLayoutVars>
      </dgm:prSet>
      <dgm:spPr/>
      <dgm:t>
        <a:bodyPr/>
        <a:lstStyle/>
        <a:p>
          <a:endParaRPr lang="en-US"/>
        </a:p>
      </dgm:t>
    </dgm:pt>
    <dgm:pt modelId="{3D4591A6-E4DD-4D52-905D-112C3FE0D186}" type="pres">
      <dgm:prSet presAssocID="{8B95A16F-26AB-438C-A479-8F0CDEC03FDD}"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1448AFD4-95E5-4D8C-BC96-056C80779FA4}" type="presOf" srcId="{48914873-C460-43A6-8A7F-9F5DC4D43744}" destId="{17397D43-AE20-4DE6-BB81-F05A7B561DB3}" srcOrd="0" destOrd="0" presId="urn:microsoft.com/office/officeart/2005/8/layout/default"/>
    <dgm:cxn modelId="{2CA78704-15F4-46C5-B8E8-9097EC34F459}" type="presOf" srcId="{ACD2CAE5-6CA8-422A-A552-FA71416125D4}" destId="{81B22F2D-5B8A-447B-B1AF-78E703F0FBA8}" srcOrd="0" destOrd="0" presId="urn:microsoft.com/office/officeart/2005/8/layout/default"/>
    <dgm:cxn modelId="{00B660AD-D214-42FE-A657-4F3CA6BE9E41}" type="presOf" srcId="{F19B3A84-1E58-4EA4-BC8E-88EE9EC875F3}" destId="{FA43EED7-ABA6-4223-8AF3-2238502642FA}" srcOrd="0" destOrd="0" presId="urn:microsoft.com/office/officeart/2005/8/layout/default"/>
    <dgm:cxn modelId="{B50E6FFC-CBF5-4317-A52D-6EEC604FA0B7}" type="presOf" srcId="{2E47A735-2E54-47D4-8D7B-43DAE317DE22}" destId="{5222C5B1-7198-4817-8170-EA15671F32D9}" srcOrd="0" destOrd="0" presId="urn:microsoft.com/office/officeart/2005/8/layout/default"/>
    <dgm:cxn modelId="{AA937E7F-3D24-4F23-8BCD-6B302A2368E0}" srcId="{48914873-C460-43A6-8A7F-9F5DC4D43744}" destId="{E0E45FE1-D0D2-40A3-A6F3-1AA1CCD07210}" srcOrd="1" destOrd="0" parTransId="{B6989271-9095-4A3F-80CC-A04E4AED6ED7}" sibTransId="{3913F38B-4F95-4C55-827A-D361D83F0CFA}"/>
    <dgm:cxn modelId="{BE588B15-E547-4D91-AFD7-BB47C19256CF}" type="presOf" srcId="{E0E45FE1-D0D2-40A3-A6F3-1AA1CCD07210}" destId="{6EBA3DC2-F638-4273-8776-F3FE0A081A64}" srcOrd="0" destOrd="0" presId="urn:microsoft.com/office/officeart/2005/8/layout/default"/>
    <dgm:cxn modelId="{5949F08B-1C36-4CA3-BB6A-2EE419884BF8}" srcId="{48914873-C460-43A6-8A7F-9F5DC4D43744}" destId="{F19B3A84-1E58-4EA4-BC8E-88EE9EC875F3}" srcOrd="2" destOrd="0" parTransId="{2D072C30-8905-4EB1-BA78-E3A6775D6F0E}" sibTransId="{8B95A16F-26AB-438C-A479-8F0CDEC03FDD}"/>
    <dgm:cxn modelId="{0E487D11-6FF8-4D31-9674-E34AEC0327EA}" srcId="{48914873-C460-43A6-8A7F-9F5DC4D43744}" destId="{ACD2CAE5-6CA8-422A-A552-FA71416125D4}" srcOrd="0" destOrd="0" parTransId="{1CCBF95C-50B4-4AE2-BF6C-988A97E3766F}" sibTransId="{0EE29A21-DDDC-40E2-8756-7355AC783842}"/>
    <dgm:cxn modelId="{75C5F2ED-7190-4282-B715-C0BBE049F4E2}" srcId="{48914873-C460-43A6-8A7F-9F5DC4D43744}" destId="{2E47A735-2E54-47D4-8D7B-43DAE317DE22}" srcOrd="3" destOrd="0" parTransId="{935CD182-5494-4B87-A87B-5C526DA1EFD0}" sibTransId="{9F231788-C31F-4B60-A8BF-C2D421D63C19}"/>
    <dgm:cxn modelId="{EC6F8DFE-C178-4BF8-B2FC-9010F59C996C}" type="presParOf" srcId="{17397D43-AE20-4DE6-BB81-F05A7B561DB3}" destId="{81B22F2D-5B8A-447B-B1AF-78E703F0FBA8}" srcOrd="0" destOrd="0" presId="urn:microsoft.com/office/officeart/2005/8/layout/default"/>
    <dgm:cxn modelId="{504CFE06-A205-4764-ADC8-955FCCF71BE0}" type="presParOf" srcId="{17397D43-AE20-4DE6-BB81-F05A7B561DB3}" destId="{06199EA7-9AD7-47F3-B47F-9C74788B88C1}" srcOrd="1" destOrd="0" presId="urn:microsoft.com/office/officeart/2005/8/layout/default"/>
    <dgm:cxn modelId="{3123ACDD-24E2-47E8-A14A-51A936CAA749}" type="presParOf" srcId="{17397D43-AE20-4DE6-BB81-F05A7B561DB3}" destId="{6EBA3DC2-F638-4273-8776-F3FE0A081A64}" srcOrd="2" destOrd="0" presId="urn:microsoft.com/office/officeart/2005/8/layout/default"/>
    <dgm:cxn modelId="{AF80E164-A73A-42DD-8E27-F7E4FBBF25C8}" type="presParOf" srcId="{17397D43-AE20-4DE6-BB81-F05A7B561DB3}" destId="{37010295-AF1F-4C13-A664-2E34FA8C29AB}" srcOrd="3" destOrd="0" presId="urn:microsoft.com/office/officeart/2005/8/layout/default"/>
    <dgm:cxn modelId="{6959A959-4E80-4C76-BC3A-739B1F008D59}" type="presParOf" srcId="{17397D43-AE20-4DE6-BB81-F05A7B561DB3}" destId="{FA43EED7-ABA6-4223-8AF3-2238502642FA}" srcOrd="4" destOrd="0" presId="urn:microsoft.com/office/officeart/2005/8/layout/default"/>
    <dgm:cxn modelId="{6569BB3A-97E3-4D67-8735-E7D1E064DFC8}" type="presParOf" srcId="{17397D43-AE20-4DE6-BB81-F05A7B561DB3}" destId="{3D4591A6-E4DD-4D52-905D-112C3FE0D186}" srcOrd="5" destOrd="0" presId="urn:microsoft.com/office/officeart/2005/8/layout/default"/>
    <dgm:cxn modelId="{B54C9EA1-1CD2-4602-AF1E-A60A2C95F92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8983B347-8D0D-4372-90CA-9C17857CE664}">
      <dgm:prSet/>
      <dgm:spPr/>
      <dgm:t>
        <a:bodyPr/>
        <a:lstStyle/>
        <a:p>
          <a:pPr rtl="0"/>
          <a:r>
            <a:rPr lang="en-US" dirty="0" smtClean="0"/>
            <a:t>NuGet</a:t>
          </a:r>
          <a:endParaRPr lang="en-US" dirty="0"/>
        </a:p>
      </dgm:t>
    </dgm:pt>
    <dgm:pt modelId="{0A5A06A6-4EDC-4510-84ED-92F6F2667556}" type="parTrans" cxnId="{959D2AC2-89FE-4352-B736-FF1D6D58ECE9}">
      <dgm:prSet/>
      <dgm:spPr/>
    </dgm:pt>
    <dgm:pt modelId="{08C0FBF8-C45C-4BF5-BAC6-1061AB357760}" type="sibTrans" cxnId="{959D2AC2-89FE-4352-B736-FF1D6D58ECE9}">
      <dgm:prSet/>
      <dgm:spPr/>
    </dgm:pt>
    <dgm:pt modelId="{0DF3FFFB-58A2-4B0A-AFA1-B41AA04EAD46}">
      <dgm:prSet/>
      <dgm:spPr/>
      <dgm:t>
        <a:bodyPr/>
        <a:lstStyle/>
        <a:p>
          <a:pPr rtl="0"/>
          <a:r>
            <a:rPr lang="en-US" dirty="0" smtClean="0"/>
            <a:t>ASP.NET</a:t>
          </a:r>
          <a:endParaRPr lang="en-US" dirty="0"/>
        </a:p>
      </dgm:t>
    </dgm:pt>
    <dgm:pt modelId="{9E77F863-2A7A-4C62-B995-2F87515B2D82}" type="parTrans" cxnId="{31CCBD44-2BB5-41DE-AE9F-5549080B109E}">
      <dgm:prSet/>
      <dgm:spPr/>
    </dgm:pt>
    <dgm:pt modelId="{C899E1EE-15D8-4ACD-970E-90FC5F8F0817}" type="sibTrans" cxnId="{31CCBD44-2BB5-41DE-AE9F-5549080B109E}">
      <dgm:prSet/>
      <dgm:spPr/>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custLinFactNeighborY="0">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A7D27D5B-E859-457C-8215-1D09A475CB43}" type="pres">
      <dgm:prSet presAssocID="{8983B347-8D0D-4372-90CA-9C17857CE664}" presName="node" presStyleLbl="node1" presStyleIdx="1" presStyleCnt="4">
        <dgm:presLayoutVars>
          <dgm:bulletEnabled val="1"/>
        </dgm:presLayoutVars>
      </dgm:prSet>
      <dgm:spPr/>
      <dgm:t>
        <a:bodyPr/>
        <a:lstStyle/>
        <a:p>
          <a:endParaRPr lang="en-US"/>
        </a:p>
      </dgm:t>
    </dgm:pt>
    <dgm:pt modelId="{9D811C93-6A5F-47EC-89B9-AA9A7E410177}" type="pres">
      <dgm:prSet presAssocID="{08C0FBF8-C45C-4BF5-BAC6-1061AB357760}" presName="sibTrans" presStyleCnt="0"/>
      <dgm:spPr/>
    </dgm:pt>
    <dgm:pt modelId="{A798A8BB-EAFF-46DB-9E95-9EAA69AB940B}" type="pres">
      <dgm:prSet presAssocID="{0DF3FFFB-58A2-4B0A-AFA1-B41AA04EAD46}" presName="node" presStyleLbl="node1" presStyleIdx="2" presStyleCnt="4">
        <dgm:presLayoutVars>
          <dgm:bulletEnabled val="1"/>
        </dgm:presLayoutVars>
      </dgm:prSet>
      <dgm:spPr/>
      <dgm:t>
        <a:bodyPr/>
        <a:lstStyle/>
        <a:p>
          <a:endParaRPr lang="en-US"/>
        </a:p>
      </dgm:t>
    </dgm:pt>
    <dgm:pt modelId="{62ACC600-83EB-470C-8E82-B06CC798575D}" type="pres">
      <dgm:prSet presAssocID="{C899E1EE-15D8-4ACD-970E-90FC5F8F081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386F7ED5-DA59-4FC8-ABC4-29FAD4FCAF2E}" type="presOf" srcId="{2E47A735-2E54-47D4-8D7B-43DAE317DE22}" destId="{5222C5B1-7198-4817-8170-EA15671F32D9}" srcOrd="0" destOrd="0" presId="urn:microsoft.com/office/officeart/2005/8/layout/default"/>
    <dgm:cxn modelId="{959D2AC2-89FE-4352-B736-FF1D6D58ECE9}" srcId="{48914873-C460-43A6-8A7F-9F5DC4D43744}" destId="{8983B347-8D0D-4372-90CA-9C17857CE664}" srcOrd="1" destOrd="0" parTransId="{0A5A06A6-4EDC-4510-84ED-92F6F2667556}" sibTransId="{08C0FBF8-C45C-4BF5-BAC6-1061AB357760}"/>
    <dgm:cxn modelId="{3508BAE6-F2E9-48AC-85BA-BE434D4625FA}" type="presOf" srcId="{0DF3FFFB-58A2-4B0A-AFA1-B41AA04EAD46}" destId="{A798A8BB-EAFF-46DB-9E95-9EAA69AB940B}" srcOrd="0" destOrd="0" presId="urn:microsoft.com/office/officeart/2005/8/layout/default"/>
    <dgm:cxn modelId="{242A871C-DBCB-4893-8C9C-F073E88CA24F}" type="presOf" srcId="{48914873-C460-43A6-8A7F-9F5DC4D43744}" destId="{17397D43-AE20-4DE6-BB81-F05A7B561DB3}" srcOrd="0" destOrd="0" presId="urn:microsoft.com/office/officeart/2005/8/layout/default"/>
    <dgm:cxn modelId="{104F92D7-B880-482D-B069-47B9E119FFD3}" type="presOf" srcId="{ACD2CAE5-6CA8-422A-A552-FA71416125D4}" destId="{81B22F2D-5B8A-447B-B1AF-78E703F0FBA8}" srcOrd="0" destOrd="0" presId="urn:microsoft.com/office/officeart/2005/8/layout/default"/>
    <dgm:cxn modelId="{31CCBD44-2BB5-41DE-AE9F-5549080B109E}" srcId="{48914873-C460-43A6-8A7F-9F5DC4D43744}" destId="{0DF3FFFB-58A2-4B0A-AFA1-B41AA04EAD46}" srcOrd="2" destOrd="0" parTransId="{9E77F863-2A7A-4C62-B995-2F87515B2D82}" sibTransId="{C899E1EE-15D8-4ACD-970E-90FC5F8F0817}"/>
    <dgm:cxn modelId="{0E487D11-6FF8-4D31-9674-E34AEC0327EA}" srcId="{48914873-C460-43A6-8A7F-9F5DC4D43744}" destId="{ACD2CAE5-6CA8-422A-A552-FA71416125D4}" srcOrd="0" destOrd="0" parTransId="{1CCBF95C-50B4-4AE2-BF6C-988A97E3766F}" sibTransId="{0EE29A21-DDDC-40E2-8756-7355AC783842}"/>
    <dgm:cxn modelId="{AD824AB9-849A-461B-BDD8-610B9339CBF8}" type="presOf" srcId="{8983B347-8D0D-4372-90CA-9C17857CE664}" destId="{A7D27D5B-E859-457C-8215-1D09A475CB43}"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63208863-7288-4302-B08E-FA371B0AE72C}" type="presParOf" srcId="{17397D43-AE20-4DE6-BB81-F05A7B561DB3}" destId="{81B22F2D-5B8A-447B-B1AF-78E703F0FBA8}" srcOrd="0" destOrd="0" presId="urn:microsoft.com/office/officeart/2005/8/layout/default"/>
    <dgm:cxn modelId="{C099CCEF-BB61-4B3C-AAF1-99C409800514}" type="presParOf" srcId="{17397D43-AE20-4DE6-BB81-F05A7B561DB3}" destId="{06199EA7-9AD7-47F3-B47F-9C74788B88C1}" srcOrd="1" destOrd="0" presId="urn:microsoft.com/office/officeart/2005/8/layout/default"/>
    <dgm:cxn modelId="{DCBCF65A-6DD6-4A93-AA4E-24BBE539C630}" type="presParOf" srcId="{17397D43-AE20-4DE6-BB81-F05A7B561DB3}" destId="{A7D27D5B-E859-457C-8215-1D09A475CB43}" srcOrd="2" destOrd="0" presId="urn:microsoft.com/office/officeart/2005/8/layout/default"/>
    <dgm:cxn modelId="{66F45693-FB1D-429F-875B-9448479CBDE7}" type="presParOf" srcId="{17397D43-AE20-4DE6-BB81-F05A7B561DB3}" destId="{9D811C93-6A5F-47EC-89B9-AA9A7E410177}" srcOrd="3" destOrd="0" presId="urn:microsoft.com/office/officeart/2005/8/layout/default"/>
    <dgm:cxn modelId="{F68F30D3-9FB7-4F8B-9C95-8DE874F874AD}" type="presParOf" srcId="{17397D43-AE20-4DE6-BB81-F05A7B561DB3}" destId="{A798A8BB-EAFF-46DB-9E95-9EAA69AB940B}" srcOrd="4" destOrd="0" presId="urn:microsoft.com/office/officeart/2005/8/layout/default"/>
    <dgm:cxn modelId="{E7CF1006-C755-4B9E-BB5E-DEE76AB907D9}" type="presParOf" srcId="{17397D43-AE20-4DE6-BB81-F05A7B561DB3}" destId="{62ACC600-83EB-470C-8E82-B06CC798575D}" srcOrd="5" destOrd="0" presId="urn:microsoft.com/office/officeart/2005/8/layout/default"/>
    <dgm:cxn modelId="{CF733F72-778F-40FD-A6B3-DE3AD317B04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8914873-C460-43A6-8A7F-9F5DC4D43744}" type="doc">
      <dgm:prSet loTypeId="urn:microsoft.com/office/officeart/2005/8/layout/hList6" loCatId="list" qsTypeId="urn:microsoft.com/office/officeart/2005/8/quickstyle/simple1" qsCatId="simple" csTypeId="urn:microsoft.com/office/officeart/2005/8/colors/accent2_2" csCatId="accent2" phldr="1"/>
      <dgm:spPr/>
      <dgm:t>
        <a:bodyPr/>
        <a:lstStyle/>
        <a:p>
          <a:endParaRPr lang="en-US"/>
        </a:p>
      </dgm:t>
    </dgm:pt>
    <dgm:pt modelId="{2A698087-0C77-46BC-BEE3-9DD62B31079B}">
      <dgm:prSet/>
      <dgm:spPr/>
      <dgm:t>
        <a:bodyPr/>
        <a:lstStyle/>
        <a:p>
          <a:r>
            <a:rPr lang="en-US" dirty="0" smtClean="0"/>
            <a:t>HTML5</a:t>
          </a:r>
          <a:endParaRPr lang="en-US" dirty="0"/>
        </a:p>
      </dgm:t>
    </dgm:pt>
    <dgm:pt modelId="{545886D5-ECF3-47AB-A738-82363A11B743}" type="parTrans" cxnId="{9732441B-1070-4844-8B23-1F2A5EDFD7DA}">
      <dgm:prSet/>
      <dgm:spPr/>
      <dgm:t>
        <a:bodyPr/>
        <a:lstStyle/>
        <a:p>
          <a:endParaRPr lang="en-US"/>
        </a:p>
      </dgm:t>
    </dgm:pt>
    <dgm:pt modelId="{DF51E2A6-ABF0-49DE-8ADB-388659769540}" type="sibTrans" cxnId="{9732441B-1070-4844-8B23-1F2A5EDFD7DA}">
      <dgm:prSet/>
      <dgm:spPr/>
      <dgm:t>
        <a:bodyPr/>
        <a:lstStyle/>
        <a:p>
          <a:endParaRPr lang="en-US"/>
        </a:p>
      </dgm:t>
    </dgm:pt>
    <dgm:pt modelId="{812ABAC1-3E9F-4ADE-9366-40D3AA2AD3BA}">
      <dgm:prSet/>
      <dgm:spPr/>
      <dgm:t>
        <a:bodyPr/>
        <a:lstStyle/>
        <a:p>
          <a:r>
            <a:rPr lang="en-US" dirty="0" smtClean="0"/>
            <a:t>HTTP Services</a:t>
          </a:r>
          <a:endParaRPr lang="en-US" dirty="0"/>
        </a:p>
      </dgm:t>
    </dgm:pt>
    <dgm:pt modelId="{0444737E-DD01-4795-8E90-6DB9AAE7F101}" type="parTrans" cxnId="{15162FB8-AEBF-43C5-B49A-CD93FD1588E8}">
      <dgm:prSet/>
      <dgm:spPr/>
      <dgm:t>
        <a:bodyPr/>
        <a:lstStyle/>
        <a:p>
          <a:endParaRPr lang="en-US"/>
        </a:p>
      </dgm:t>
    </dgm:pt>
    <dgm:pt modelId="{D06C768E-1C13-4A96-8740-80504BCB47E5}" type="sibTrans" cxnId="{15162FB8-AEBF-43C5-B49A-CD93FD1588E8}">
      <dgm:prSet/>
      <dgm:spPr/>
      <dgm:t>
        <a:bodyPr/>
        <a:lstStyle/>
        <a:p>
          <a:endParaRPr lang="en-US"/>
        </a:p>
      </dgm:t>
    </dgm:pt>
    <dgm:pt modelId="{1CED3CD6-4FA1-4711-B76E-50D5AA62E2E1}">
      <dgm:prSet/>
      <dgm:spPr/>
      <dgm:t>
        <a:bodyPr/>
        <a:lstStyle/>
        <a:p>
          <a:r>
            <a:rPr lang="en-US" dirty="0" smtClean="0"/>
            <a:t>Apps for Office</a:t>
          </a:r>
        </a:p>
      </dgm:t>
    </dgm:pt>
    <dgm:pt modelId="{3C4A6998-2CCE-45E1-B62D-A651B5E58516}" type="parTrans" cxnId="{0F29BC1C-D41D-4E8F-BADA-8C4CADED2751}">
      <dgm:prSet/>
      <dgm:spPr/>
      <dgm:t>
        <a:bodyPr/>
        <a:lstStyle/>
        <a:p>
          <a:endParaRPr lang="en-US"/>
        </a:p>
      </dgm:t>
    </dgm:pt>
    <dgm:pt modelId="{C1CCAE8A-4022-4E72-9AE5-CF2C2F55C3F5}" type="sibTrans" cxnId="{0F29BC1C-D41D-4E8F-BADA-8C4CADED2751}">
      <dgm:prSet/>
      <dgm:spPr/>
      <dgm:t>
        <a:bodyPr/>
        <a:lstStyle/>
        <a:p>
          <a:endParaRPr lang="en-US"/>
        </a:p>
      </dgm:t>
    </dgm:pt>
    <dgm:pt modelId="{211A42D9-BFAF-4454-BCB4-93A2AA679A64}">
      <dgm:prSet/>
      <dgm:spPr/>
      <dgm:t>
        <a:bodyPr/>
        <a:lstStyle/>
        <a:p>
          <a:r>
            <a:rPr lang="en-US" dirty="0" err="1" smtClean="0"/>
            <a:t>Realtime</a:t>
          </a:r>
          <a:endParaRPr lang="en-US" dirty="0" smtClean="0"/>
        </a:p>
      </dgm:t>
    </dgm:pt>
    <dgm:pt modelId="{D8D7C6B3-4175-4559-8298-E0470AF14AF9}" type="parTrans" cxnId="{E60DBE6F-1913-43BE-8ABA-4C6B092D6369}">
      <dgm:prSet/>
      <dgm:spPr/>
      <dgm:t>
        <a:bodyPr/>
        <a:lstStyle/>
        <a:p>
          <a:endParaRPr lang="en-US"/>
        </a:p>
      </dgm:t>
    </dgm:pt>
    <dgm:pt modelId="{4F04738D-6490-407A-AFD6-3BF7792FF141}" type="sibTrans" cxnId="{E60DBE6F-1913-43BE-8ABA-4C6B092D6369}">
      <dgm:prSet/>
      <dgm:spPr/>
      <dgm:t>
        <a:bodyPr/>
        <a:lstStyle/>
        <a:p>
          <a:endParaRPr lang="en-US"/>
        </a:p>
      </dgm:t>
    </dgm:pt>
    <dgm:pt modelId="{9D34E88F-6C92-40EF-BA65-F1E4CB442E7D}">
      <dgm:prSet/>
      <dgm:spPr/>
      <dgm:t>
        <a:bodyPr/>
        <a:lstStyle/>
        <a:p>
          <a:r>
            <a:rPr lang="en-US" dirty="0" smtClean="0"/>
            <a:t>Mobile</a:t>
          </a:r>
        </a:p>
      </dgm:t>
    </dgm:pt>
    <dgm:pt modelId="{A958C27D-A344-4ABD-A425-69AB7A475FFE}" type="parTrans" cxnId="{119B124B-CAA3-4C20-9AF8-DBD462AA57E1}">
      <dgm:prSet/>
      <dgm:spPr/>
      <dgm:t>
        <a:bodyPr/>
        <a:lstStyle/>
        <a:p>
          <a:endParaRPr lang="en-US"/>
        </a:p>
      </dgm:t>
    </dgm:pt>
    <dgm:pt modelId="{47E551C6-E158-4D27-8AA6-B9A3D16B5723}" type="sibTrans" cxnId="{119B124B-CAA3-4C20-9AF8-DBD462AA57E1}">
      <dgm:prSet/>
      <dgm:spPr/>
      <dgm:t>
        <a:bodyPr/>
        <a:lstStyle/>
        <a:p>
          <a:endParaRPr lang="en-US"/>
        </a:p>
      </dgm:t>
    </dgm:pt>
    <dgm:pt modelId="{71AA828F-2648-4441-8406-D8DAE30890B0}">
      <dgm:prSet/>
      <dgm:spPr/>
      <dgm:t>
        <a:bodyPr/>
        <a:lstStyle/>
        <a:p>
          <a:r>
            <a:rPr lang="en-US" dirty="0" smtClean="0"/>
            <a:t>Social Apps</a:t>
          </a:r>
        </a:p>
      </dgm:t>
    </dgm:pt>
    <dgm:pt modelId="{CEFD6BE5-76BF-495B-8B6B-2BFCE4576482}" type="parTrans" cxnId="{D81544BE-7F1A-4F32-9D69-55CDBD375068}">
      <dgm:prSet/>
      <dgm:spPr/>
    </dgm:pt>
    <dgm:pt modelId="{FDE38C33-7D54-4695-831E-7EC9C4DE8712}" type="sibTrans" cxnId="{D81544BE-7F1A-4F32-9D69-55CDBD375068}">
      <dgm:prSet/>
      <dgm:spPr/>
    </dgm:pt>
    <dgm:pt modelId="{A2070B52-02F1-4836-A6D4-B342BA3C62E1}" type="pres">
      <dgm:prSet presAssocID="{48914873-C460-43A6-8A7F-9F5DC4D43744}" presName="Name0" presStyleCnt="0">
        <dgm:presLayoutVars>
          <dgm:dir/>
          <dgm:resizeHandles val="exact"/>
        </dgm:presLayoutVars>
      </dgm:prSet>
      <dgm:spPr/>
      <dgm:t>
        <a:bodyPr/>
        <a:lstStyle/>
        <a:p>
          <a:endParaRPr lang="en-US"/>
        </a:p>
      </dgm:t>
    </dgm:pt>
    <dgm:pt modelId="{D437CDCA-8FEE-451B-8B34-336A2EEF574F}" type="pres">
      <dgm:prSet presAssocID="{2A698087-0C77-46BC-BEE3-9DD62B31079B}" presName="node" presStyleLbl="node1" presStyleIdx="0" presStyleCnt="6">
        <dgm:presLayoutVars>
          <dgm:bulletEnabled val="1"/>
        </dgm:presLayoutVars>
      </dgm:prSet>
      <dgm:spPr/>
      <dgm:t>
        <a:bodyPr/>
        <a:lstStyle/>
        <a:p>
          <a:endParaRPr lang="en-US"/>
        </a:p>
      </dgm:t>
    </dgm:pt>
    <dgm:pt modelId="{399802C9-1E24-4C2A-B0C3-9D7D8C9BA453}" type="pres">
      <dgm:prSet presAssocID="{DF51E2A6-ABF0-49DE-8ADB-388659769540}" presName="sibTrans" presStyleCnt="0"/>
      <dgm:spPr/>
    </dgm:pt>
    <dgm:pt modelId="{DB5A990A-185F-4665-A830-87374555E0FA}" type="pres">
      <dgm:prSet presAssocID="{812ABAC1-3E9F-4ADE-9366-40D3AA2AD3BA}" presName="node" presStyleLbl="node1" presStyleIdx="1" presStyleCnt="6">
        <dgm:presLayoutVars>
          <dgm:bulletEnabled val="1"/>
        </dgm:presLayoutVars>
      </dgm:prSet>
      <dgm:spPr/>
      <dgm:t>
        <a:bodyPr/>
        <a:lstStyle/>
        <a:p>
          <a:endParaRPr lang="en-US"/>
        </a:p>
      </dgm:t>
    </dgm:pt>
    <dgm:pt modelId="{004A49E8-BF76-4A44-B0FF-983798BEE5C6}" type="pres">
      <dgm:prSet presAssocID="{D06C768E-1C13-4A96-8740-80504BCB47E5}" presName="sibTrans" presStyleCnt="0"/>
      <dgm:spPr/>
    </dgm:pt>
    <dgm:pt modelId="{3AF8CB4F-F048-4F3C-B4B5-E95B9AD13478}" type="pres">
      <dgm:prSet presAssocID="{1CED3CD6-4FA1-4711-B76E-50D5AA62E2E1}" presName="node" presStyleLbl="node1" presStyleIdx="2" presStyleCnt="6">
        <dgm:presLayoutVars>
          <dgm:bulletEnabled val="1"/>
        </dgm:presLayoutVars>
      </dgm:prSet>
      <dgm:spPr/>
      <dgm:t>
        <a:bodyPr/>
        <a:lstStyle/>
        <a:p>
          <a:endParaRPr lang="en-US"/>
        </a:p>
      </dgm:t>
    </dgm:pt>
    <dgm:pt modelId="{72E2E21B-D0DD-44C3-B79D-E74C40066761}" type="pres">
      <dgm:prSet presAssocID="{C1CCAE8A-4022-4E72-9AE5-CF2C2F55C3F5}" presName="sibTrans" presStyleCnt="0"/>
      <dgm:spPr/>
    </dgm:pt>
    <dgm:pt modelId="{CC52979C-82EC-4CBC-A175-AE9FF090D1B5}" type="pres">
      <dgm:prSet presAssocID="{9D34E88F-6C92-40EF-BA65-F1E4CB442E7D}" presName="node" presStyleLbl="node1" presStyleIdx="3" presStyleCnt="6">
        <dgm:presLayoutVars>
          <dgm:bulletEnabled val="1"/>
        </dgm:presLayoutVars>
      </dgm:prSet>
      <dgm:spPr/>
      <dgm:t>
        <a:bodyPr/>
        <a:lstStyle/>
        <a:p>
          <a:endParaRPr lang="en-US"/>
        </a:p>
      </dgm:t>
    </dgm:pt>
    <dgm:pt modelId="{6192BD0C-074D-4831-A6E5-0EF4B346AA71}" type="pres">
      <dgm:prSet presAssocID="{47E551C6-E158-4D27-8AA6-B9A3D16B5723}" presName="sibTrans" presStyleCnt="0"/>
      <dgm:spPr/>
    </dgm:pt>
    <dgm:pt modelId="{B5F6F9A6-8A74-432E-8695-32F1E98F6BA3}" type="pres">
      <dgm:prSet presAssocID="{71AA828F-2648-4441-8406-D8DAE30890B0}" presName="node" presStyleLbl="node1" presStyleIdx="4" presStyleCnt="6">
        <dgm:presLayoutVars>
          <dgm:bulletEnabled val="1"/>
        </dgm:presLayoutVars>
      </dgm:prSet>
      <dgm:spPr/>
      <dgm:t>
        <a:bodyPr/>
        <a:lstStyle/>
        <a:p>
          <a:endParaRPr lang="en-US"/>
        </a:p>
      </dgm:t>
    </dgm:pt>
    <dgm:pt modelId="{B47DB0D9-5692-4CC7-B9F6-0C411BFFE20C}" type="pres">
      <dgm:prSet presAssocID="{FDE38C33-7D54-4695-831E-7EC9C4DE8712}" presName="sibTrans" presStyleCnt="0"/>
      <dgm:spPr/>
    </dgm:pt>
    <dgm:pt modelId="{36BFA8F7-A41E-4D9C-AAE6-A2CAD7F155A3}" type="pres">
      <dgm:prSet presAssocID="{211A42D9-BFAF-4454-BCB4-93A2AA679A64}" presName="node" presStyleLbl="node1" presStyleIdx="5" presStyleCnt="6">
        <dgm:presLayoutVars>
          <dgm:bulletEnabled val="1"/>
        </dgm:presLayoutVars>
      </dgm:prSet>
      <dgm:spPr/>
      <dgm:t>
        <a:bodyPr/>
        <a:lstStyle/>
        <a:p>
          <a:endParaRPr lang="en-US"/>
        </a:p>
      </dgm:t>
    </dgm:pt>
  </dgm:ptLst>
  <dgm:cxnLst>
    <dgm:cxn modelId="{74B8439A-58C6-4F18-A0B5-AC4228B40A29}" type="presOf" srcId="{211A42D9-BFAF-4454-BCB4-93A2AA679A64}" destId="{36BFA8F7-A41E-4D9C-AAE6-A2CAD7F155A3}" srcOrd="0" destOrd="0" presId="urn:microsoft.com/office/officeart/2005/8/layout/hList6"/>
    <dgm:cxn modelId="{F20C2068-8E9B-442B-BEBE-2F9070506B62}" type="presOf" srcId="{71AA828F-2648-4441-8406-D8DAE30890B0}" destId="{B5F6F9A6-8A74-432E-8695-32F1E98F6BA3}" srcOrd="0" destOrd="0" presId="urn:microsoft.com/office/officeart/2005/8/layout/hList6"/>
    <dgm:cxn modelId="{D81544BE-7F1A-4F32-9D69-55CDBD375068}" srcId="{48914873-C460-43A6-8A7F-9F5DC4D43744}" destId="{71AA828F-2648-4441-8406-D8DAE30890B0}" srcOrd="4" destOrd="0" parTransId="{CEFD6BE5-76BF-495B-8B6B-2BFCE4576482}" sibTransId="{FDE38C33-7D54-4695-831E-7EC9C4DE8712}"/>
    <dgm:cxn modelId="{9732441B-1070-4844-8B23-1F2A5EDFD7DA}" srcId="{48914873-C460-43A6-8A7F-9F5DC4D43744}" destId="{2A698087-0C77-46BC-BEE3-9DD62B31079B}" srcOrd="0" destOrd="0" parTransId="{545886D5-ECF3-47AB-A738-82363A11B743}" sibTransId="{DF51E2A6-ABF0-49DE-8ADB-388659769540}"/>
    <dgm:cxn modelId="{119B124B-CAA3-4C20-9AF8-DBD462AA57E1}" srcId="{48914873-C460-43A6-8A7F-9F5DC4D43744}" destId="{9D34E88F-6C92-40EF-BA65-F1E4CB442E7D}" srcOrd="3" destOrd="0" parTransId="{A958C27D-A344-4ABD-A425-69AB7A475FFE}" sibTransId="{47E551C6-E158-4D27-8AA6-B9A3D16B5723}"/>
    <dgm:cxn modelId="{E60DBE6F-1913-43BE-8ABA-4C6B092D6369}" srcId="{48914873-C460-43A6-8A7F-9F5DC4D43744}" destId="{211A42D9-BFAF-4454-BCB4-93A2AA679A64}" srcOrd="5" destOrd="0" parTransId="{D8D7C6B3-4175-4559-8298-E0470AF14AF9}" sibTransId="{4F04738D-6490-407A-AFD6-3BF7792FF141}"/>
    <dgm:cxn modelId="{05D297C8-ECF1-4817-9E8B-293A28D36F61}" type="presOf" srcId="{48914873-C460-43A6-8A7F-9F5DC4D43744}" destId="{A2070B52-02F1-4836-A6D4-B342BA3C62E1}" srcOrd="0" destOrd="0" presId="urn:microsoft.com/office/officeart/2005/8/layout/hList6"/>
    <dgm:cxn modelId="{15162FB8-AEBF-43C5-B49A-CD93FD1588E8}" srcId="{48914873-C460-43A6-8A7F-9F5DC4D43744}" destId="{812ABAC1-3E9F-4ADE-9366-40D3AA2AD3BA}" srcOrd="1" destOrd="0" parTransId="{0444737E-DD01-4795-8E90-6DB9AAE7F101}" sibTransId="{D06C768E-1C13-4A96-8740-80504BCB47E5}"/>
    <dgm:cxn modelId="{6A571B05-0FD2-4C24-917B-ED9A48CEA166}" type="presOf" srcId="{9D34E88F-6C92-40EF-BA65-F1E4CB442E7D}" destId="{CC52979C-82EC-4CBC-A175-AE9FF090D1B5}" srcOrd="0" destOrd="0" presId="urn:microsoft.com/office/officeart/2005/8/layout/hList6"/>
    <dgm:cxn modelId="{07643321-71BF-451B-802F-01AB9789C709}" type="presOf" srcId="{2A698087-0C77-46BC-BEE3-9DD62B31079B}" destId="{D437CDCA-8FEE-451B-8B34-336A2EEF574F}" srcOrd="0" destOrd="0" presId="urn:microsoft.com/office/officeart/2005/8/layout/hList6"/>
    <dgm:cxn modelId="{220B083F-4C9C-474A-A7BF-C972814D9554}" type="presOf" srcId="{812ABAC1-3E9F-4ADE-9366-40D3AA2AD3BA}" destId="{DB5A990A-185F-4665-A830-87374555E0FA}" srcOrd="0" destOrd="0" presId="urn:microsoft.com/office/officeart/2005/8/layout/hList6"/>
    <dgm:cxn modelId="{9E12F3D0-7E5F-4666-829A-54529327B5DE}" type="presOf" srcId="{1CED3CD6-4FA1-4711-B76E-50D5AA62E2E1}" destId="{3AF8CB4F-F048-4F3C-B4B5-E95B9AD13478}" srcOrd="0" destOrd="0" presId="urn:microsoft.com/office/officeart/2005/8/layout/hList6"/>
    <dgm:cxn modelId="{0F29BC1C-D41D-4E8F-BADA-8C4CADED2751}" srcId="{48914873-C460-43A6-8A7F-9F5DC4D43744}" destId="{1CED3CD6-4FA1-4711-B76E-50D5AA62E2E1}" srcOrd="2" destOrd="0" parTransId="{3C4A6998-2CCE-45E1-B62D-A651B5E58516}" sibTransId="{C1CCAE8A-4022-4E72-9AE5-CF2C2F55C3F5}"/>
    <dgm:cxn modelId="{35EEF6A9-12F0-4532-809C-9D2C31811A84}" type="presParOf" srcId="{A2070B52-02F1-4836-A6D4-B342BA3C62E1}" destId="{D437CDCA-8FEE-451B-8B34-336A2EEF574F}" srcOrd="0" destOrd="0" presId="urn:microsoft.com/office/officeart/2005/8/layout/hList6"/>
    <dgm:cxn modelId="{47A6A797-8B3B-43AC-AD07-566C8120ACC5}" type="presParOf" srcId="{A2070B52-02F1-4836-A6D4-B342BA3C62E1}" destId="{399802C9-1E24-4C2A-B0C3-9D7D8C9BA453}" srcOrd="1" destOrd="0" presId="urn:microsoft.com/office/officeart/2005/8/layout/hList6"/>
    <dgm:cxn modelId="{B70A2D97-FF56-4F1A-B47C-006257314622}" type="presParOf" srcId="{A2070B52-02F1-4836-A6D4-B342BA3C62E1}" destId="{DB5A990A-185F-4665-A830-87374555E0FA}" srcOrd="2" destOrd="0" presId="urn:microsoft.com/office/officeart/2005/8/layout/hList6"/>
    <dgm:cxn modelId="{F5632CAB-DD85-4B51-8B3A-010F5CB04D71}" type="presParOf" srcId="{A2070B52-02F1-4836-A6D4-B342BA3C62E1}" destId="{004A49E8-BF76-4A44-B0FF-983798BEE5C6}" srcOrd="3" destOrd="0" presId="urn:microsoft.com/office/officeart/2005/8/layout/hList6"/>
    <dgm:cxn modelId="{26482C11-CE4C-440F-BC69-CBBF03096FC5}" type="presParOf" srcId="{A2070B52-02F1-4836-A6D4-B342BA3C62E1}" destId="{3AF8CB4F-F048-4F3C-B4B5-E95B9AD13478}" srcOrd="4" destOrd="0" presId="urn:microsoft.com/office/officeart/2005/8/layout/hList6"/>
    <dgm:cxn modelId="{411607C8-76B7-47F5-BEBC-F4BAF99D9C44}" type="presParOf" srcId="{A2070B52-02F1-4836-A6D4-B342BA3C62E1}" destId="{72E2E21B-D0DD-44C3-B79D-E74C40066761}" srcOrd="5" destOrd="0" presId="urn:microsoft.com/office/officeart/2005/8/layout/hList6"/>
    <dgm:cxn modelId="{C37190A5-3547-4CDD-92EA-B0C2C7CDFABB}" type="presParOf" srcId="{A2070B52-02F1-4836-A6D4-B342BA3C62E1}" destId="{CC52979C-82EC-4CBC-A175-AE9FF090D1B5}" srcOrd="6" destOrd="0" presId="urn:microsoft.com/office/officeart/2005/8/layout/hList6"/>
    <dgm:cxn modelId="{30206C09-D718-484F-A3A0-736B2C860641}" type="presParOf" srcId="{A2070B52-02F1-4836-A6D4-B342BA3C62E1}" destId="{6192BD0C-074D-4831-A6E5-0EF4B346AA71}" srcOrd="7" destOrd="0" presId="urn:microsoft.com/office/officeart/2005/8/layout/hList6"/>
    <dgm:cxn modelId="{53E07CC7-A4FD-44A4-9AD5-BF860E815569}" type="presParOf" srcId="{A2070B52-02F1-4836-A6D4-B342BA3C62E1}" destId="{B5F6F9A6-8A74-432E-8695-32F1E98F6BA3}" srcOrd="8" destOrd="0" presId="urn:microsoft.com/office/officeart/2005/8/layout/hList6"/>
    <dgm:cxn modelId="{A8A4AA80-5359-47E7-B150-226C3E51E6E5}" type="presParOf" srcId="{A2070B52-02F1-4836-A6D4-B342BA3C62E1}" destId="{B47DB0D9-5692-4CC7-B9F6-0C411BFFE20C}" srcOrd="9" destOrd="0" presId="urn:microsoft.com/office/officeart/2005/8/layout/hList6"/>
    <dgm:cxn modelId="{53CC4E1B-D694-4E72-8E15-E1DB5DF3A768}" type="presParOf" srcId="{A2070B52-02F1-4836-A6D4-B342BA3C62E1}" destId="{36BFA8F7-A41E-4D9C-AAE6-A2CAD7F155A3}" srcOrd="10" destOrd="0" presId="urn:microsoft.com/office/officeart/2005/8/layout/hList6"/>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BFD6C2D9-8EAF-4814-9068-92EC26CD3430}">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dsp:txBody>
      <dsp:txXfrm>
        <a:off x="2853668" y="164864"/>
        <a:ext cx="2591274" cy="1554764"/>
      </dsp:txXfrm>
    </dsp:sp>
    <dsp:sp modelId="{C12961E1-1B5A-4A16-B7D5-F0E2A81007BC}">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6EBA3DC2-F638-4273-8776-F3FE0A081A64}">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NuGet</a:t>
          </a:r>
          <a:endParaRPr lang="en-US" sz="4000" kern="1200" dirty="0"/>
        </a:p>
      </dsp:txBody>
      <dsp:txXfrm>
        <a:off x="2853668" y="164864"/>
        <a:ext cx="2591274" cy="1554764"/>
      </dsp:txXfrm>
    </dsp:sp>
    <dsp:sp modelId="{FA43EED7-ABA6-4223-8AF3-2238502642FA}">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362053"/>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362053"/>
        <a:ext cx="2591274" cy="1554764"/>
      </dsp:txXfrm>
    </dsp:sp>
    <dsp:sp modelId="{A7D27D5B-E859-457C-8215-1D09A475CB43}">
      <dsp:nvSpPr>
        <dsp:cNvPr id="0" name=""/>
        <dsp:cNvSpPr/>
      </dsp:nvSpPr>
      <dsp:spPr>
        <a:xfrm>
          <a:off x="2853668" y="362053"/>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NuGet</a:t>
          </a:r>
          <a:endParaRPr lang="en-US" sz="4000" kern="1200" dirty="0"/>
        </a:p>
      </dsp:txBody>
      <dsp:txXfrm>
        <a:off x="2853668" y="362053"/>
        <a:ext cx="2591274" cy="1554764"/>
      </dsp:txXfrm>
    </dsp:sp>
    <dsp:sp modelId="{A798A8BB-EAFF-46DB-9E95-9EAA69AB940B}">
      <dsp:nvSpPr>
        <dsp:cNvPr id="0" name=""/>
        <dsp:cNvSpPr/>
      </dsp:nvSpPr>
      <dsp:spPr>
        <a:xfrm>
          <a:off x="5704070" y="362053"/>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362053"/>
        <a:ext cx="2591274" cy="1554764"/>
      </dsp:txXfrm>
    </dsp:sp>
    <dsp:sp modelId="{5222C5B1-7198-4817-8170-EA15671F32D9}">
      <dsp:nvSpPr>
        <dsp:cNvPr id="0" name=""/>
        <dsp:cNvSpPr/>
      </dsp:nvSpPr>
      <dsp:spPr>
        <a:xfrm>
          <a:off x="8554472" y="362053"/>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362053"/>
        <a:ext cx="2591274" cy="155476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37CDCA-8FEE-451B-8B34-336A2EEF574F}">
      <dsp:nvSpPr>
        <dsp:cNvPr id="0" name=""/>
        <dsp:cNvSpPr/>
      </dsp:nvSpPr>
      <dsp:spPr>
        <a:xfrm rot="16200000">
          <a:off x="-177349"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ML5</a:t>
          </a:r>
          <a:endParaRPr lang="en-US" sz="2800" kern="1200" dirty="0"/>
        </a:p>
      </dsp:txBody>
      <dsp:txXfrm rot="5400000">
        <a:off x="4424" y="422203"/>
        <a:ext cx="1747477" cy="1266614"/>
      </dsp:txXfrm>
    </dsp:sp>
    <dsp:sp modelId="{DB5A990A-185F-4665-A830-87374555E0FA}">
      <dsp:nvSpPr>
        <dsp:cNvPr id="0" name=""/>
        <dsp:cNvSpPr/>
      </dsp:nvSpPr>
      <dsp:spPr>
        <a:xfrm rot="16200000">
          <a:off x="1701188"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TP Services</a:t>
          </a:r>
          <a:endParaRPr lang="en-US" sz="2800" kern="1200" dirty="0"/>
        </a:p>
      </dsp:txBody>
      <dsp:txXfrm rot="5400000">
        <a:off x="1882961" y="422203"/>
        <a:ext cx="1747477" cy="1266614"/>
      </dsp:txXfrm>
    </dsp:sp>
    <dsp:sp modelId="{3AF8CB4F-F048-4F3C-B4B5-E95B9AD13478}">
      <dsp:nvSpPr>
        <dsp:cNvPr id="0" name=""/>
        <dsp:cNvSpPr/>
      </dsp:nvSpPr>
      <dsp:spPr>
        <a:xfrm rot="16200000">
          <a:off x="3579726"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Apps for Office</a:t>
          </a:r>
        </a:p>
      </dsp:txBody>
      <dsp:txXfrm rot="5400000">
        <a:off x="3761499" y="422203"/>
        <a:ext cx="1747477" cy="1266614"/>
      </dsp:txXfrm>
    </dsp:sp>
    <dsp:sp modelId="{CC52979C-82EC-4CBC-A175-AE9FF090D1B5}">
      <dsp:nvSpPr>
        <dsp:cNvPr id="0" name=""/>
        <dsp:cNvSpPr/>
      </dsp:nvSpPr>
      <dsp:spPr>
        <a:xfrm rot="16200000">
          <a:off x="5458264"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Mobile</a:t>
          </a:r>
        </a:p>
      </dsp:txBody>
      <dsp:txXfrm rot="5400000">
        <a:off x="5640037" y="422203"/>
        <a:ext cx="1747477" cy="1266614"/>
      </dsp:txXfrm>
    </dsp:sp>
    <dsp:sp modelId="{B5F6F9A6-8A74-432E-8695-32F1E98F6BA3}">
      <dsp:nvSpPr>
        <dsp:cNvPr id="0" name=""/>
        <dsp:cNvSpPr/>
      </dsp:nvSpPr>
      <dsp:spPr>
        <a:xfrm rot="16200000">
          <a:off x="7336802"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Social Apps</a:t>
          </a:r>
        </a:p>
      </dsp:txBody>
      <dsp:txXfrm rot="5400000">
        <a:off x="7518575" y="422203"/>
        <a:ext cx="1747477" cy="1266614"/>
      </dsp:txXfrm>
    </dsp:sp>
    <dsp:sp modelId="{36BFA8F7-A41E-4D9C-AAE6-A2CAD7F155A3}">
      <dsp:nvSpPr>
        <dsp:cNvPr id="0" name=""/>
        <dsp:cNvSpPr/>
      </dsp:nvSpPr>
      <dsp:spPr>
        <a:xfrm rot="16200000">
          <a:off x="9215340"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err="1" smtClean="0"/>
            <a:t>Realtime</a:t>
          </a:r>
          <a:endParaRPr lang="en-US" sz="2800" kern="1200" dirty="0" smtClean="0"/>
        </a:p>
      </dsp:txBody>
      <dsp:txXfrm rot="5400000">
        <a:off x="9397113" y="422203"/>
        <a:ext cx="1747477" cy="126661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29/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29/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Keynote (30 minutes)</a:t>
            </a:r>
          </a:p>
          <a:p>
            <a:r>
              <a:rPr lang="en-US" sz="1600" kern="1200" dirty="0" smtClean="0">
                <a:solidFill>
                  <a:schemeClr val="tx1"/>
                </a:solidFill>
                <a:effectLst/>
                <a:latin typeface="Segoe UI" pitchFamily="34" charset="0"/>
                <a:ea typeface="+mn-ea"/>
                <a:cs typeface="+mn-cs"/>
              </a:rPr>
              <a:t>We'll start with a quick keynote which lays out roadmap for the day. We'll make sure you're familiar with the core building blocks and tools used to create modern web applications on the Microsoft web platform, then examine some key web development scenarios the modern web platform helps you solve.</a:t>
            </a:r>
          </a:p>
          <a:p>
            <a:r>
              <a:rPr lang="en-US" sz="1600" b="1" kern="1200" dirty="0" smtClean="0">
                <a:solidFill>
                  <a:schemeClr val="tx1"/>
                </a:solidFill>
                <a:effectLst/>
                <a:latin typeface="Segoe UI" pitchFamily="34" charset="0"/>
                <a:ea typeface="+mn-ea"/>
                <a:cs typeface="+mn-cs"/>
              </a:rPr>
              <a:t>Outline:</a:t>
            </a:r>
          </a:p>
          <a:p>
            <a:pPr lvl="0"/>
            <a:r>
              <a:rPr lang="en-US" sz="1600" kern="1200" dirty="0" smtClean="0">
                <a:solidFill>
                  <a:schemeClr val="tx1"/>
                </a:solidFill>
                <a:effectLst/>
                <a:latin typeface="Segoe UI" pitchFamily="34" charset="0"/>
                <a:ea typeface="+mn-ea"/>
                <a:cs typeface="+mn-cs"/>
              </a:rPr>
              <a:t>Framework and tools (20 minutes)</a:t>
            </a:r>
          </a:p>
          <a:p>
            <a:pPr lvl="1"/>
            <a:r>
              <a:rPr lang="en-US" sz="1600" kern="1200" dirty="0" smtClean="0">
                <a:solidFill>
                  <a:schemeClr val="tx1"/>
                </a:solidFill>
                <a:effectLst/>
                <a:latin typeface="Segoe UI" pitchFamily="34" charset="0"/>
                <a:ea typeface="+mn-ea"/>
                <a:cs typeface="+mn-cs"/>
              </a:rPr>
              <a:t>ASP.NET</a:t>
            </a:r>
          </a:p>
          <a:p>
            <a:pPr lvl="1"/>
            <a:r>
              <a:rPr lang="en-US" sz="1600" kern="1200" dirty="0" smtClean="0">
                <a:solidFill>
                  <a:schemeClr val="tx1"/>
                </a:solidFill>
                <a:effectLst/>
                <a:latin typeface="Segoe UI" pitchFamily="34" charset="0"/>
                <a:ea typeface="+mn-ea"/>
                <a:cs typeface="+mn-cs"/>
              </a:rPr>
              <a:t>Tools</a:t>
            </a:r>
          </a:p>
          <a:p>
            <a:pPr lvl="2"/>
            <a:r>
              <a:rPr lang="en-US" sz="1600" kern="1200" dirty="0" smtClean="0">
                <a:solidFill>
                  <a:schemeClr val="tx1"/>
                </a:solidFill>
                <a:effectLst/>
                <a:latin typeface="Segoe UI" pitchFamily="34" charset="0"/>
                <a:ea typeface="+mn-ea"/>
                <a:cs typeface="+mn-cs"/>
              </a:rPr>
              <a:t>Visual Studio</a:t>
            </a:r>
          </a:p>
          <a:p>
            <a:pPr lvl="2"/>
            <a:r>
              <a:rPr lang="en-US" sz="1600" kern="1200" dirty="0" smtClean="0">
                <a:solidFill>
                  <a:schemeClr val="tx1"/>
                </a:solidFill>
                <a:effectLst/>
                <a:latin typeface="Segoe UI" pitchFamily="34" charset="0"/>
                <a:ea typeface="+mn-ea"/>
                <a:cs typeface="+mn-cs"/>
              </a:rPr>
              <a:t>NuGet</a:t>
            </a:r>
          </a:p>
          <a:p>
            <a:pPr lvl="1"/>
            <a:r>
              <a:rPr lang="en-US" sz="1600" kern="1200" dirty="0" smtClean="0">
                <a:solidFill>
                  <a:schemeClr val="tx1"/>
                </a:solidFill>
                <a:effectLst/>
                <a:latin typeface="Segoe UI" pitchFamily="34" charset="0"/>
                <a:ea typeface="+mn-ea"/>
                <a:cs typeface="+mn-cs"/>
              </a:rPr>
              <a:t>Windows Azure</a:t>
            </a:r>
          </a:p>
          <a:p>
            <a:pPr lvl="0"/>
            <a:r>
              <a:rPr lang="en-US" sz="1600" kern="1200" dirty="0" smtClean="0">
                <a:solidFill>
                  <a:schemeClr val="tx1"/>
                </a:solidFill>
                <a:effectLst/>
                <a:latin typeface="Segoe UI" pitchFamily="34" charset="0"/>
                <a:ea typeface="+mn-ea"/>
                <a:cs typeface="+mn-cs"/>
              </a:rPr>
              <a:t>Key Scenarios (10 minutes)</a:t>
            </a:r>
          </a:p>
          <a:p>
            <a:pPr lvl="1"/>
            <a:r>
              <a:rPr lang="en-US" sz="1600" kern="1200" dirty="0" smtClean="0">
                <a:solidFill>
                  <a:schemeClr val="tx1"/>
                </a:solidFill>
                <a:effectLst/>
                <a:latin typeface="Segoe UI" pitchFamily="34" charset="0"/>
                <a:ea typeface="+mn-ea"/>
                <a:cs typeface="+mn-cs"/>
              </a:rPr>
              <a:t>Overview key scenarios</a:t>
            </a:r>
          </a:p>
          <a:p>
            <a:pPr lvl="1"/>
            <a:r>
              <a:rPr lang="en-US" sz="1600" kern="1200" dirty="0" smtClean="0">
                <a:solidFill>
                  <a:schemeClr val="tx1"/>
                </a:solidFill>
                <a:effectLst/>
                <a:latin typeface="Segoe UI" pitchFamily="34" charset="0"/>
                <a:ea typeface="+mn-ea"/>
                <a:cs typeface="+mn-cs"/>
              </a:rPr>
              <a:t>Highlight scenarios we'll be covering today</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9772301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9716728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13</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40426838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7</a:t>
            </a:fld>
            <a:endParaRPr lang="en-US"/>
          </a:p>
        </p:txBody>
      </p:sp>
    </p:spTree>
    <p:extLst>
      <p:ext uri="{BB962C8B-B14F-4D97-AF65-F5344CB8AC3E}">
        <p14:creationId xmlns:p14="http://schemas.microsoft.com/office/powerpoint/2010/main" val="35654819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5665697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7185384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Group 6"/>
          <p:cNvGrpSpPr/>
          <p:nvPr userDrawn="1"/>
        </p:nvGrpSpPr>
        <p:grpSpPr>
          <a:xfrm>
            <a:off x="517525" y="6335971"/>
            <a:ext cx="1768475" cy="276999"/>
            <a:chOff x="517525" y="5956427"/>
            <a:chExt cx="1768475" cy="276999"/>
          </a:xfrm>
        </p:grpSpPr>
        <p:sp>
          <p:nvSpPr>
            <p:cNvPr id="8" name="TextBox 7"/>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9" name="Rectangle 8"/>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81"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2.xml"/><Relationship Id="rId7" Type="http://schemas.openxmlformats.org/officeDocument/2006/relationships/diagramData" Target="../diagrams/data2.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9.emf"/><Relationship Id="rId11" Type="http://schemas.microsoft.com/office/2007/relationships/diagramDrawing" Target="../diagrams/drawing2.xml"/><Relationship Id="rId5" Type="http://schemas.openxmlformats.org/officeDocument/2006/relationships/oleObject" Target="../embeddings/oleObject7.bin"/><Relationship Id="rId10" Type="http://schemas.openxmlformats.org/officeDocument/2006/relationships/diagramColors" Target="../diagrams/colors2.xml"/><Relationship Id="rId4" Type="http://schemas.openxmlformats.org/officeDocument/2006/relationships/notesSlide" Target="../notesSlides/notesSlide9.xml"/><Relationship Id="rId9"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3" Type="http://schemas.openxmlformats.org/officeDocument/2006/relationships/slideLayout" Target="../slideLayouts/slideLayout2.xml"/><Relationship Id="rId7" Type="http://schemas.openxmlformats.org/officeDocument/2006/relationships/diagramData" Target="../diagrams/data3.xml"/><Relationship Id="rId12" Type="http://schemas.openxmlformats.org/officeDocument/2006/relationships/diagramData" Target="../diagrams/data4.xml"/><Relationship Id="rId2" Type="http://schemas.openxmlformats.org/officeDocument/2006/relationships/tags" Target="../tags/tag11.xml"/><Relationship Id="rId16" Type="http://schemas.microsoft.com/office/2007/relationships/diagramDrawing" Target="../diagrams/drawing4.xml"/><Relationship Id="rId1" Type="http://schemas.openxmlformats.org/officeDocument/2006/relationships/vmlDrawing" Target="../drawings/vmlDrawing8.vml"/><Relationship Id="rId6" Type="http://schemas.openxmlformats.org/officeDocument/2006/relationships/image" Target="../media/image9.emf"/><Relationship Id="rId11" Type="http://schemas.microsoft.com/office/2007/relationships/diagramDrawing" Target="../diagrams/drawing3.xml"/><Relationship Id="rId5" Type="http://schemas.openxmlformats.org/officeDocument/2006/relationships/oleObject" Target="../embeddings/oleObject8.bin"/><Relationship Id="rId15" Type="http://schemas.openxmlformats.org/officeDocument/2006/relationships/diagramColors" Target="../diagrams/colors4.xml"/><Relationship Id="rId10" Type="http://schemas.openxmlformats.org/officeDocument/2006/relationships/diagramColors" Target="../diagrams/colors3.xml"/><Relationship Id="rId4" Type="http://schemas.openxmlformats.org/officeDocument/2006/relationships/notesSlide" Target="../notesSlides/notesSlide10.xml"/><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12.xml.rels><?xml version="1.0" encoding="UTF-8" standalone="yes"?>
<Relationships xmlns="http://schemas.openxmlformats.org/package/2006/relationships"><Relationship Id="rId8" Type="http://schemas.openxmlformats.org/officeDocument/2006/relationships/hyperlink" Target="http://asp.net/" TargetMode="External"/><Relationship Id="rId3" Type="http://schemas.openxmlformats.org/officeDocument/2006/relationships/tags" Target="../tags/tag13.xml"/><Relationship Id="rId7" Type="http://schemas.openxmlformats.org/officeDocument/2006/relationships/image" Target="../media/image9.emf"/><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1.xml"/><Relationship Id="rId10" Type="http://schemas.openxmlformats.org/officeDocument/2006/relationships/hyperlink" Target="http://www.devcamps.ms/web" TargetMode="External"/><Relationship Id="rId4" Type="http://schemas.openxmlformats.org/officeDocument/2006/relationships/slideLayout" Target="../slideLayouts/slideLayout2.xml"/><Relationship Id="rId9" Type="http://schemas.openxmlformats.org/officeDocument/2006/relationships/hyperlink" Target="http://asp.net/vnext" TargetMode="Externa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xml"/><Relationship Id="rId7" Type="http://schemas.openxmlformats.org/officeDocument/2006/relationships/diagramData" Target="../diagrams/data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4775369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5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he foundation: tools &amp; framework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3892857715"/>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055598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2.42251E-7 1.11111E-6 L 0.00208 0.39768 " pathEditMode="relative" rAng="0" ptsTypes="AA">
                                      <p:cBhvr>
                                        <p:cTn id="6" dur="2000" fill="hold"/>
                                        <p:tgtEl>
                                          <p:spTgt spid="4">
                                            <p:graphicEl>
                                              <a:dgm id="{81B22F2D-5B8A-447B-B1AF-78E703F0FBA8}"/>
                                            </p:graphicEl>
                                          </p:spTgt>
                                        </p:tgtEl>
                                        <p:attrNameLst>
                                          <p:attrName>ppt_x</p:attrName>
                                          <p:attrName>ppt_y</p:attrName>
                                        </p:attrNameLst>
                                      </p:cBhvr>
                                      <p:rCtr x="104" y="19884"/>
                                    </p:animMotion>
                                  </p:childTnLst>
                                </p:cTn>
                              </p:par>
                              <p:par>
                                <p:cTn id="7" presetID="42" presetClass="path" presetSubtype="0" accel="50000" decel="50000" fill="hold" grpId="0" nodeType="withEffect">
                                  <p:stCondLst>
                                    <p:cond delay="0"/>
                                  </p:stCondLst>
                                  <p:childTnLst>
                                    <p:animMotion origin="layout" path="M 2.42251E-7 1.11111E-6 L 0.00208 0.39768 " pathEditMode="relative" rAng="0" ptsTypes="AA">
                                      <p:cBhvr>
                                        <p:cTn id="8" dur="2000" fill="hold"/>
                                        <p:tgtEl>
                                          <p:spTgt spid="4">
                                            <p:graphicEl>
                                              <a:dgm id="{6EBA3DC2-F638-4273-8776-F3FE0A081A64}"/>
                                            </p:graphicEl>
                                          </p:spTgt>
                                        </p:tgtEl>
                                        <p:attrNameLst>
                                          <p:attrName>ppt_x</p:attrName>
                                          <p:attrName>ppt_y</p:attrName>
                                        </p:attrNameLst>
                                      </p:cBhvr>
                                      <p:rCtr x="104" y="19884"/>
                                    </p:animMotion>
                                  </p:childTnLst>
                                </p:cTn>
                              </p:par>
                              <p:par>
                                <p:cTn id="9" presetID="42" presetClass="path" presetSubtype="0" accel="50000" decel="50000" fill="hold" grpId="0" nodeType="withEffect">
                                  <p:stCondLst>
                                    <p:cond delay="0"/>
                                  </p:stCondLst>
                                  <p:childTnLst>
                                    <p:animMotion origin="layout" path="M 2.42251E-7 1.11111E-6 L 0.00208 0.39768 " pathEditMode="relative" rAng="0" ptsTypes="AA">
                                      <p:cBhvr>
                                        <p:cTn id="10" dur="2000" fill="hold"/>
                                        <p:tgtEl>
                                          <p:spTgt spid="4">
                                            <p:graphicEl>
                                              <a:dgm id="{FA43EED7-ABA6-4223-8AF3-2238502642FA}"/>
                                            </p:graphicEl>
                                          </p:spTgt>
                                        </p:tgtEl>
                                        <p:attrNameLst>
                                          <p:attrName>ppt_x</p:attrName>
                                          <p:attrName>ppt_y</p:attrName>
                                        </p:attrNameLst>
                                      </p:cBhvr>
                                      <p:rCtr x="104" y="19884"/>
                                    </p:animMotion>
                                  </p:childTnLst>
                                </p:cTn>
                              </p:par>
                              <p:par>
                                <p:cTn id="11" presetID="42" presetClass="path" presetSubtype="0" accel="50000" decel="50000" fill="hold" grpId="0" nodeType="withEffect">
                                  <p:stCondLst>
                                    <p:cond delay="0"/>
                                  </p:stCondLst>
                                  <p:childTnLst>
                                    <p:animMotion origin="layout" path="M 2.42251E-7 1.11111E-6 L 0.00208 0.39768 " pathEditMode="relative" rAng="0" ptsTypes="AA">
                                      <p:cBhvr>
                                        <p:cTn id="12" dur="2000" fill="hold"/>
                                        <p:tgtEl>
                                          <p:spTgt spid="4">
                                            <p:graphicEl>
                                              <a:dgm id="{5222C5B1-7198-4817-8170-EA15671F32D9}"/>
                                            </p:graphicEl>
                                          </p:spTgt>
                                        </p:tgtEl>
                                        <p:attrNameLst>
                                          <p:attrName>ppt_x</p:attrName>
                                          <p:attrName>ppt_y</p:attrName>
                                        </p:attrNameLst>
                                      </p:cBhvr>
                                      <p:rCtr x="104" y="1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p:bldSub>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6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aking it further: key scenario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170744666"/>
              </p:ext>
            </p:extLst>
          </p:nvPr>
        </p:nvGraphicFramePr>
        <p:xfrm>
          <a:off x="519112" y="3974424"/>
          <a:ext cx="11149013" cy="227887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 7"/>
          <p:cNvGraphicFramePr/>
          <p:nvPr>
            <p:extLst>
              <p:ext uri="{D42A27DB-BD31-4B8C-83A1-F6EECF244321}">
                <p14:modId xmlns:p14="http://schemas.microsoft.com/office/powerpoint/2010/main" val="3513962653"/>
              </p:ext>
            </p:extLst>
          </p:nvPr>
        </p:nvGraphicFramePr>
        <p:xfrm>
          <a:off x="519112" y="1490134"/>
          <a:ext cx="11149013" cy="211102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326878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D437CDCA-8FEE-451B-8B34-336A2EEF574F}"/>
                                            </p:graphicEl>
                                          </p:spTgt>
                                        </p:tgtEl>
                                        <p:attrNameLst>
                                          <p:attrName>style.visibility</p:attrName>
                                        </p:attrNameLst>
                                      </p:cBhvr>
                                      <p:to>
                                        <p:strVal val="visible"/>
                                      </p:to>
                                    </p:set>
                                    <p:animEffect transition="in" filter="fade">
                                      <p:cBhvr>
                                        <p:cTn id="7" dur="500"/>
                                        <p:tgtEl>
                                          <p:spTgt spid="8">
                                            <p:graphicEl>
                                              <a:dgm id="{D437CDCA-8FEE-451B-8B34-336A2EEF574F}"/>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graphicEl>
                                              <a:dgm id="{DB5A990A-185F-4665-A830-87374555E0FA}"/>
                                            </p:graphicEl>
                                          </p:spTgt>
                                        </p:tgtEl>
                                        <p:attrNameLst>
                                          <p:attrName>style.visibility</p:attrName>
                                        </p:attrNameLst>
                                      </p:cBhvr>
                                      <p:to>
                                        <p:strVal val="visible"/>
                                      </p:to>
                                    </p:set>
                                    <p:animEffect transition="in" filter="fade">
                                      <p:cBhvr>
                                        <p:cTn id="12" dur="500"/>
                                        <p:tgtEl>
                                          <p:spTgt spid="8">
                                            <p:graphicEl>
                                              <a:dgm id="{DB5A990A-185F-4665-A830-87374555E0FA}"/>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graphicEl>
                                              <a:dgm id="{3AF8CB4F-F048-4F3C-B4B5-E95B9AD13478}"/>
                                            </p:graphicEl>
                                          </p:spTgt>
                                        </p:tgtEl>
                                        <p:attrNameLst>
                                          <p:attrName>style.visibility</p:attrName>
                                        </p:attrNameLst>
                                      </p:cBhvr>
                                      <p:to>
                                        <p:strVal val="visible"/>
                                      </p:to>
                                    </p:set>
                                    <p:animEffect transition="in" filter="fade">
                                      <p:cBhvr>
                                        <p:cTn id="17" dur="500"/>
                                        <p:tgtEl>
                                          <p:spTgt spid="8">
                                            <p:graphicEl>
                                              <a:dgm id="{3AF8CB4F-F048-4F3C-B4B5-E95B9AD13478}"/>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graphicEl>
                                              <a:dgm id="{CC52979C-82EC-4CBC-A175-AE9FF090D1B5}"/>
                                            </p:graphicEl>
                                          </p:spTgt>
                                        </p:tgtEl>
                                        <p:attrNameLst>
                                          <p:attrName>style.visibility</p:attrName>
                                        </p:attrNameLst>
                                      </p:cBhvr>
                                      <p:to>
                                        <p:strVal val="visible"/>
                                      </p:to>
                                    </p:set>
                                    <p:animEffect transition="in" filter="fade">
                                      <p:cBhvr>
                                        <p:cTn id="22" dur="500"/>
                                        <p:tgtEl>
                                          <p:spTgt spid="8">
                                            <p:graphicEl>
                                              <a:dgm id="{CC52979C-82EC-4CBC-A175-AE9FF090D1B5}"/>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graphicEl>
                                              <a:dgm id="{B5F6F9A6-8A74-432E-8695-32F1E98F6BA3}"/>
                                            </p:graphicEl>
                                          </p:spTgt>
                                        </p:tgtEl>
                                        <p:attrNameLst>
                                          <p:attrName>style.visibility</p:attrName>
                                        </p:attrNameLst>
                                      </p:cBhvr>
                                      <p:to>
                                        <p:strVal val="visible"/>
                                      </p:to>
                                    </p:set>
                                    <p:animEffect transition="in" filter="fade">
                                      <p:cBhvr>
                                        <p:cTn id="27" dur="500"/>
                                        <p:tgtEl>
                                          <p:spTgt spid="8">
                                            <p:graphicEl>
                                              <a:dgm id="{B5F6F9A6-8A74-432E-8695-32F1E98F6BA3}"/>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
                                            <p:graphicEl>
                                              <a:dgm id="{36BFA8F7-A41E-4D9C-AAE6-A2CAD7F155A3}"/>
                                            </p:graphicEl>
                                          </p:spTgt>
                                        </p:tgtEl>
                                        <p:attrNameLst>
                                          <p:attrName>style.visibility</p:attrName>
                                        </p:attrNameLst>
                                      </p:cBhvr>
                                      <p:to>
                                        <p:strVal val="visible"/>
                                      </p:to>
                                    </p:set>
                                    <p:animEffect transition="in" filter="fade">
                                      <p:cBhvr>
                                        <p:cTn id="32" dur="500"/>
                                        <p:tgtEl>
                                          <p:spTgt spid="8">
                                            <p:graphicEl>
                                              <a:dgm id="{36BFA8F7-A41E-4D9C-AAE6-A2CAD7F155A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Sub>
          <a:bldDgm bld="one"/>
        </p:bldSub>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2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2246769"/>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asp.net</a:t>
            </a:r>
            <a:endParaRPr lang="en-US" sz="3200" dirty="0" smtClean="0">
              <a:latin typeface="+mn-lt"/>
            </a:endParaRPr>
          </a:p>
          <a:p>
            <a:pPr>
              <a:spcAft>
                <a:spcPts val="1200"/>
              </a:spcAft>
            </a:pPr>
            <a:r>
              <a:rPr lang="en-US" sz="3200" dirty="0" smtClean="0">
                <a:latin typeface="+mn-lt"/>
                <a:hlinkClick r:id="rId9"/>
              </a:rPr>
              <a:t>http://asp.net/vnext</a:t>
            </a:r>
            <a:endParaRPr lang="en-US" sz="3200" dirty="0" smtClean="0">
              <a:latin typeface="+mn-lt"/>
            </a:endParaRPr>
          </a:p>
          <a:p>
            <a:pPr>
              <a:spcAft>
                <a:spcPts val="1200"/>
              </a:spcAft>
            </a:pPr>
            <a:r>
              <a:rPr lang="en-US" sz="3200" smtClean="0">
                <a:latin typeface="+mn-lt"/>
                <a:hlinkClick r:id="rId10"/>
              </a:rPr>
              <a:t>http://www.devcamps.ms/web</a:t>
            </a:r>
            <a:r>
              <a:rPr lang="en-US" sz="3200" smtClean="0">
                <a:latin typeface="+mn-lt"/>
              </a:rPr>
              <a:t> </a:t>
            </a:r>
            <a:endParaRPr lang="en-US" sz="3200" dirty="0" smtClean="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6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Web Camps</a:t>
            </a:r>
            <a:r>
              <a:rPr lang="en-US" sz="6000" dirty="0"/>
              <a:t> </a:t>
            </a:r>
            <a:r>
              <a:rPr lang="en-US" sz="6000" dirty="0" smtClean="0"/>
              <a:t>Keynote</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a:t>
            </a:r>
            <a:r>
              <a:rPr lang="en-US" dirty="0"/>
              <a:t>Corporation</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3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368040" y="1653331"/>
            <a:ext cx="8147020" cy="4770537"/>
          </a:xfrm>
        </p:spPr>
        <p:txBody>
          <a:bodyPr/>
          <a:lstStyle/>
          <a:p>
            <a:pPr marL="0" indent="3175"/>
            <a:r>
              <a:rPr lang="en-US" sz="2400" dirty="0"/>
              <a:t>What’s new in ASP.NET 4.5</a:t>
            </a:r>
          </a:p>
          <a:p>
            <a:pPr marL="0" indent="3175"/>
            <a:r>
              <a:rPr lang="en-US" sz="2400" dirty="0"/>
              <a:t>Building and deploying websites with ASP.NET MVC 4</a:t>
            </a:r>
          </a:p>
          <a:p>
            <a:pPr marL="0" indent="3175"/>
            <a:r>
              <a:rPr lang="en-US" sz="2400" dirty="0"/>
              <a:t>Creating HTML5 Applications with jQuery</a:t>
            </a:r>
          </a:p>
          <a:p>
            <a:pPr marL="0" indent="3175"/>
            <a:r>
              <a:rPr lang="en-US" sz="2400" dirty="0"/>
              <a:t>Building a service layer with ASP.NET Web API</a:t>
            </a:r>
          </a:p>
          <a:p>
            <a:pPr marL="0" indent="3175"/>
            <a:r>
              <a:rPr lang="en-US" sz="2400" dirty="0"/>
              <a:t>Leveraging your ASP.NET development skills to build apps for Office</a:t>
            </a:r>
          </a:p>
          <a:p>
            <a:pPr marL="0" indent="3175"/>
            <a:r>
              <a:rPr lang="en-US" sz="2400" dirty="0"/>
              <a:t>Building for the mobile web</a:t>
            </a:r>
          </a:p>
          <a:p>
            <a:pPr marL="0" indent="3175"/>
            <a:r>
              <a:rPr lang="en-US" sz="2400" dirty="0"/>
              <a:t>Real-time communications with SignalR</a:t>
            </a:r>
          </a:p>
          <a:p>
            <a:pPr marL="0" indent="3175"/>
            <a:r>
              <a:rPr lang="en-US" sz="2400" dirty="0"/>
              <a:t>Using Cloud Application Services</a:t>
            </a:r>
            <a:endParaRPr lang="en-US" sz="2400" dirty="0" smtClean="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he foundation: tools &amp; framework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986341257"/>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91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7" dur="500"/>
                                        <p:tgtEl>
                                          <p:spTgt spid="4">
                                            <p:graphicEl>
                                              <a:dgm id="{81B22F2D-5B8A-447B-B1AF-78E703F0FBA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4">
                                            <p:graphicEl>
                                              <a:dgm id="{BFD6C2D9-8EAF-4814-9068-92EC26CD3430}"/>
                                            </p:graphicEl>
                                          </p:spTgt>
                                        </p:tgtEl>
                                        <p:attrNameLst>
                                          <p:attrName>style.visibility</p:attrName>
                                        </p:attrNameLst>
                                      </p:cBhvr>
                                      <p:to>
                                        <p:strVal val="visible"/>
                                      </p:to>
                                    </p:set>
                                    <p:animEffect transition="in" filter="fade">
                                      <p:cBhvr>
                                        <p:cTn id="12" dur="500"/>
                                        <p:tgtEl>
                                          <p:spTgt spid="4">
                                            <p:graphicEl>
                                              <a:dgm id="{BFD6C2D9-8EAF-4814-9068-92EC26CD34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1" nodeType="clickEffect">
                                  <p:stCondLst>
                                    <p:cond delay="0"/>
                                  </p:stCondLst>
                                  <p:childTnLst>
                                    <p:set>
                                      <p:cBhvr>
                                        <p:cTn id="16" dur="1" fill="hold">
                                          <p:stCondLst>
                                            <p:cond delay="0"/>
                                          </p:stCondLst>
                                        </p:cTn>
                                        <p:tgtEl>
                                          <p:spTgt spid="4">
                                            <p:graphicEl>
                                              <a:dgm id="{C12961E1-1B5A-4A16-B7D5-F0E2A81007BC}"/>
                                            </p:graphicEl>
                                          </p:spTgt>
                                        </p:tgtEl>
                                        <p:attrNameLst>
                                          <p:attrName>style.visibility</p:attrName>
                                        </p:attrNameLst>
                                      </p:cBhvr>
                                      <p:to>
                                        <p:strVal val="visible"/>
                                      </p:to>
                                    </p:set>
                                    <p:animEffect transition="in" filter="fade">
                                      <p:cBhvr>
                                        <p:cTn id="17" dur="500"/>
                                        <p:tgtEl>
                                          <p:spTgt spid="4">
                                            <p:graphicEl>
                                              <a:dgm id="{C12961E1-1B5A-4A16-B7D5-F0E2A81007B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1" nodeType="clickEffect">
                                  <p:stCondLst>
                                    <p:cond delay="0"/>
                                  </p:stCondLst>
                                  <p:childTnLst>
                                    <p:set>
                                      <p:cBhvr>
                                        <p:cTn id="21"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22"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1" uiExpand="1">
        <p:bldSub>
          <a:bldDgm bld="on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713460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7526" y="586142"/>
            <a:ext cx="11158536" cy="553998"/>
          </a:xfrm>
          <a:prstGeom prst="rect">
            <a:avLst/>
          </a:prstGeom>
        </p:spPr>
        <p:txBody>
          <a:bodyPr/>
          <a:lstStyle/>
          <a:p>
            <a:r>
              <a:rPr lang="en-US" sz="4000" dirty="0" smtClean="0"/>
              <a:t>Visual Studio 2012: </a:t>
            </a:r>
            <a:r>
              <a:rPr lang="en-US" sz="4000" i="1" dirty="0" smtClean="0"/>
              <a:t>The</a:t>
            </a:r>
            <a:r>
              <a:rPr lang="en-US" sz="4000" dirty="0" smtClean="0"/>
              <a:t> editor for serious web </a:t>
            </a:r>
            <a:r>
              <a:rPr lang="en-US" sz="4000" dirty="0" err="1" smtClean="0"/>
              <a:t>dev</a:t>
            </a:r>
            <a:endParaRPr lang="en-US" sz="4000" dirty="0"/>
          </a:p>
        </p:txBody>
      </p:sp>
      <p:sp>
        <p:nvSpPr>
          <p:cNvPr id="5" name="Text Placeholder 4"/>
          <p:cNvSpPr>
            <a:spLocks noGrp="1"/>
          </p:cNvSpPr>
          <p:nvPr>
            <p:ph type="body" sz="quarter" idx="10"/>
          </p:nvPr>
        </p:nvSpPr>
        <p:spPr>
          <a:xfrm>
            <a:off x="517525" y="1695450"/>
            <a:ext cx="5404810" cy="3170099"/>
          </a:xfrm>
        </p:spPr>
        <p:txBody>
          <a:bodyPr/>
          <a:lstStyle/>
          <a:p>
            <a:pPr>
              <a:spcBef>
                <a:spcPts val="2400"/>
              </a:spcBef>
              <a:spcAft>
                <a:spcPts val="0"/>
              </a:spcAft>
            </a:pPr>
            <a:r>
              <a:rPr lang="en-US" sz="2800" dirty="0" smtClean="0"/>
              <a:t>HTML5 / CSS3 standards and smarts</a:t>
            </a:r>
          </a:p>
          <a:p>
            <a:pPr>
              <a:spcBef>
                <a:spcPts val="2400"/>
              </a:spcBef>
              <a:spcAft>
                <a:spcPts val="0"/>
              </a:spcAft>
            </a:pPr>
            <a:r>
              <a:rPr lang="en-US" sz="2800" dirty="0" smtClean="0"/>
              <a:t>JavaScript language features</a:t>
            </a:r>
            <a:endParaRPr lang="en-US" sz="2800" dirty="0"/>
          </a:p>
          <a:p>
            <a:pPr>
              <a:spcBef>
                <a:spcPts val="2400"/>
              </a:spcBef>
              <a:spcAft>
                <a:spcPts val="0"/>
              </a:spcAft>
            </a:pPr>
            <a:r>
              <a:rPr lang="en-US" sz="2800" dirty="0" smtClean="0"/>
              <a:t>Page Inspector</a:t>
            </a:r>
          </a:p>
          <a:p>
            <a:pPr>
              <a:spcBef>
                <a:spcPts val="2400"/>
              </a:spcBef>
              <a:spcAft>
                <a:spcPts val="0"/>
              </a:spcAft>
            </a:pPr>
            <a:r>
              <a:rPr lang="en-US" sz="2800" dirty="0" smtClean="0"/>
              <a:t>One code editor for client and server</a:t>
            </a:r>
          </a:p>
          <a:p>
            <a:pPr>
              <a:spcBef>
                <a:spcPts val="2400"/>
              </a:spcBef>
              <a:spcAft>
                <a:spcPts val="0"/>
              </a:spcAft>
            </a:pPr>
            <a:r>
              <a:rPr lang="en-US" sz="2800" dirty="0" smtClean="0"/>
              <a:t>Web Essentials extension</a:t>
            </a:r>
            <a:endParaRPr lang="en-US" sz="2800" dirty="0"/>
          </a:p>
        </p:txBody>
      </p:sp>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982"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543"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199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NuGet: The smart, easy way to manage dependencies</a:t>
            </a:r>
            <a:endParaRPr lang="en-US" sz="4000" dirty="0"/>
          </a:p>
        </p:txBody>
      </p:sp>
      <p:sp>
        <p:nvSpPr>
          <p:cNvPr id="5" name="Text Placeholder 4"/>
          <p:cNvSpPr>
            <a:spLocks noGrp="1"/>
          </p:cNvSpPr>
          <p:nvPr>
            <p:ph type="body" sz="quarter" idx="10"/>
          </p:nvPr>
        </p:nvSpPr>
        <p:spPr>
          <a:xfrm>
            <a:off x="517525" y="1695450"/>
            <a:ext cx="5404810" cy="4173450"/>
          </a:xfrm>
        </p:spPr>
        <p:txBody>
          <a:bodyPr/>
          <a:lstStyle/>
          <a:p>
            <a:pPr>
              <a:spcBef>
                <a:spcPts val="2400"/>
              </a:spcBef>
              <a:spcAft>
                <a:spcPts val="0"/>
              </a:spcAft>
            </a:pPr>
            <a:r>
              <a:rPr lang="en-US" sz="2400" dirty="0" smtClean="0"/>
              <a:t>Find the latest release</a:t>
            </a:r>
          </a:p>
          <a:p>
            <a:pPr>
              <a:spcBef>
                <a:spcPts val="2400"/>
              </a:spcBef>
              <a:spcAft>
                <a:spcPts val="0"/>
              </a:spcAft>
            </a:pPr>
            <a:r>
              <a:rPr lang="en-US" sz="2400" dirty="0" smtClean="0"/>
              <a:t>Install and configure in your project</a:t>
            </a:r>
          </a:p>
          <a:p>
            <a:pPr>
              <a:spcBef>
                <a:spcPts val="2400"/>
              </a:spcBef>
              <a:spcAft>
                <a:spcPts val="0"/>
              </a:spcAft>
            </a:pPr>
            <a:r>
              <a:rPr lang="en-US" sz="2400" dirty="0" smtClean="0"/>
              <a:t>Handle dependencies and versions</a:t>
            </a:r>
          </a:p>
          <a:p>
            <a:pPr>
              <a:spcBef>
                <a:spcPts val="2400"/>
              </a:spcBef>
              <a:spcAft>
                <a:spcPts val="0"/>
              </a:spcAft>
            </a:pPr>
            <a:r>
              <a:rPr lang="en-US" sz="2400" dirty="0" smtClean="0"/>
              <a:t>Updates with dependency checking</a:t>
            </a:r>
          </a:p>
          <a:p>
            <a:pPr>
              <a:spcBef>
                <a:spcPts val="2400"/>
              </a:spcBef>
              <a:spcAft>
                <a:spcPts val="0"/>
              </a:spcAft>
            </a:pPr>
            <a:r>
              <a:rPr lang="en-US" sz="2400" dirty="0" smtClean="0"/>
              <a:t>Common list of </a:t>
            </a:r>
            <a:r>
              <a:rPr lang="en-US" sz="2400" smtClean="0"/>
              <a:t>installed </a:t>
            </a:r>
            <a:r>
              <a:rPr lang="en-US" sz="2400" smtClean="0"/>
              <a:t>packages</a:t>
            </a:r>
            <a:endParaRPr lang="en-US" sz="2400" dirty="0" smtClean="0"/>
          </a:p>
          <a:p>
            <a:pPr>
              <a:spcBef>
                <a:spcPts val="2400"/>
              </a:spcBef>
              <a:spcAft>
                <a:spcPts val="0"/>
              </a:spcAft>
            </a:pPr>
            <a:r>
              <a:rPr lang="en-US" sz="2400" dirty="0" smtClean="0"/>
              <a:t>Simplified uninstalls</a:t>
            </a:r>
          </a:p>
          <a:p>
            <a:pPr>
              <a:spcBef>
                <a:spcPts val="2400"/>
              </a:spcBef>
              <a:spcAft>
                <a:spcPts val="0"/>
              </a:spcAft>
            </a:pPr>
            <a:r>
              <a:rPr lang="en-US" sz="2400" dirty="0" smtClean="0"/>
              <a:t>Streamlined deployment with Package Restore</a:t>
            </a:r>
            <a:endParaRPr lang="en-US" sz="2400" dirty="0"/>
          </a:p>
        </p:txBody>
      </p:sp>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19912" y="1892595"/>
            <a:ext cx="3694834" cy="3694834"/>
          </a:xfrm>
          <a:prstGeom prst="rect">
            <a:avLst/>
          </a:prstGeom>
        </p:spPr>
      </p:pic>
    </p:spTree>
    <p:extLst>
      <p:ext uri="{BB962C8B-B14F-4D97-AF65-F5344CB8AC3E}">
        <p14:creationId xmlns:p14="http://schemas.microsoft.com/office/powerpoint/2010/main" val="604935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ASP.NET: A </a:t>
            </a:r>
            <a:r>
              <a:rPr lang="en-US" dirty="0"/>
              <a:t>F</a:t>
            </a:r>
            <a:r>
              <a:rPr lang="en-US" dirty="0" smtClean="0"/>
              <a:t>ramework </a:t>
            </a:r>
            <a:r>
              <a:rPr lang="en-US" dirty="0"/>
              <a:t>F</a:t>
            </a:r>
            <a:r>
              <a:rPr lang="en-US" dirty="0" smtClean="0"/>
              <a:t>or </a:t>
            </a:r>
            <a:r>
              <a:rPr lang="en-US" dirty="0"/>
              <a:t>A</a:t>
            </a:r>
            <a:r>
              <a:rPr lang="en-US" dirty="0" smtClean="0"/>
              <a:t>ll</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7826405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394354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4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Deploying </a:t>
            </a:r>
            <a:r>
              <a:rPr lang="en-US" sz="4000" dirty="0"/>
              <a:t>ASP.NET </a:t>
            </a:r>
            <a:r>
              <a:rPr lang="en-US" sz="4000" dirty="0" smtClean="0"/>
              <a:t>Apps </a:t>
            </a:r>
            <a:r>
              <a:rPr lang="en-US" sz="4000" dirty="0"/>
              <a:t>to the Cloud</a:t>
            </a:r>
          </a:p>
        </p:txBody>
      </p:sp>
      <p:sp>
        <p:nvSpPr>
          <p:cNvPr id="8" name="Freeform 139"/>
          <p:cNvSpPr>
            <a:spLocks noEditPoints="1"/>
          </p:cNvSpPr>
          <p:nvPr/>
        </p:nvSpPr>
        <p:spPr bwMode="black">
          <a:xfrm>
            <a:off x="7546615" y="2835546"/>
            <a:ext cx="2661368" cy="1808932"/>
          </a:xfrm>
          <a:custGeom>
            <a:avLst/>
            <a:gdLst>
              <a:gd name="T0" fmla="*/ 1232 w 3162"/>
              <a:gd name="T1" fmla="*/ 548 h 2150"/>
              <a:gd name="T2" fmla="*/ 1114 w 3162"/>
              <a:gd name="T3" fmla="*/ 859 h 2150"/>
              <a:gd name="T4" fmla="*/ 746 w 3162"/>
              <a:gd name="T5" fmla="*/ 895 h 2150"/>
              <a:gd name="T6" fmla="*/ 549 w 3162"/>
              <a:gd name="T7" fmla="*/ 925 h 2150"/>
              <a:gd name="T8" fmla="*/ 862 w 3162"/>
              <a:gd name="T9" fmla="*/ 348 h 2150"/>
              <a:gd name="T10" fmla="*/ 1240 w 3162"/>
              <a:gd name="T11" fmla="*/ 502 h 2150"/>
              <a:gd name="T12" fmla="*/ 725 w 3162"/>
              <a:gd name="T13" fmla="*/ 1177 h 2150"/>
              <a:gd name="T14" fmla="*/ 560 w 3162"/>
              <a:gd name="T15" fmla="*/ 929 h 2150"/>
              <a:gd name="T16" fmla="*/ 592 w 3162"/>
              <a:gd name="T17" fmla="*/ 942 h 2150"/>
              <a:gd name="T18" fmla="*/ 779 w 3162"/>
              <a:gd name="T19" fmla="*/ 1124 h 2150"/>
              <a:gd name="T20" fmla="*/ 1229 w 3162"/>
              <a:gd name="T21" fmla="*/ 555 h 2150"/>
              <a:gd name="T22" fmla="*/ 2213 w 3162"/>
              <a:gd name="T23" fmla="*/ 1670 h 2150"/>
              <a:gd name="T24" fmla="*/ 2168 w 3162"/>
              <a:gd name="T25" fmla="*/ 1483 h 2150"/>
              <a:gd name="T26" fmla="*/ 2454 w 3162"/>
              <a:gd name="T27" fmla="*/ 1382 h 2150"/>
              <a:gd name="T28" fmla="*/ 2658 w 3162"/>
              <a:gd name="T29" fmla="*/ 1554 h 2150"/>
              <a:gd name="T30" fmla="*/ 2367 w 3162"/>
              <a:gd name="T31" fmla="*/ 1746 h 2150"/>
              <a:gd name="T32" fmla="*/ 2609 w 3162"/>
              <a:gd name="T33" fmla="*/ 1544 h 2150"/>
              <a:gd name="T34" fmla="*/ 2301 w 3162"/>
              <a:gd name="T35" fmla="*/ 1388 h 2150"/>
              <a:gd name="T36" fmla="*/ 2293 w 3162"/>
              <a:gd name="T37" fmla="*/ 1645 h 2150"/>
              <a:gd name="T38" fmla="*/ 2456 w 3162"/>
              <a:gd name="T39" fmla="*/ 1656 h 2150"/>
              <a:gd name="T40" fmla="*/ 2490 w 3162"/>
              <a:gd name="T41" fmla="*/ 1720 h 2150"/>
              <a:gd name="T42" fmla="*/ 2538 w 3162"/>
              <a:gd name="T43" fmla="*/ 1520 h 2150"/>
              <a:gd name="T44" fmla="*/ 2229 w 3162"/>
              <a:gd name="T45" fmla="*/ 1507 h 2150"/>
              <a:gd name="T46" fmla="*/ 2175 w 3162"/>
              <a:gd name="T47" fmla="*/ 1470 h 2150"/>
              <a:gd name="T48" fmla="*/ 3161 w 3162"/>
              <a:gd name="T49" fmla="*/ 1198 h 2150"/>
              <a:gd name="T50" fmla="*/ 2691 w 3162"/>
              <a:gd name="T51" fmla="*/ 1251 h 2150"/>
              <a:gd name="T52" fmla="*/ 2744 w 3162"/>
              <a:gd name="T53" fmla="*/ 1098 h 2150"/>
              <a:gd name="T54" fmla="*/ 2784 w 3162"/>
              <a:gd name="T55" fmla="*/ 1091 h 2150"/>
              <a:gd name="T56" fmla="*/ 2784 w 3162"/>
              <a:gd name="T57" fmla="*/ 1091 h 2150"/>
              <a:gd name="T58" fmla="*/ 2677 w 3162"/>
              <a:gd name="T59" fmla="*/ 1503 h 2150"/>
              <a:gd name="T60" fmla="*/ 3081 w 3162"/>
              <a:gd name="T61" fmla="*/ 1322 h 2150"/>
              <a:gd name="T62" fmla="*/ 779 w 3162"/>
              <a:gd name="T63" fmla="*/ 1123 h 2150"/>
              <a:gd name="T64" fmla="*/ 600 w 3162"/>
              <a:gd name="T65" fmla="*/ 1445 h 2150"/>
              <a:gd name="T66" fmla="*/ 594 w 3162"/>
              <a:gd name="T67" fmla="*/ 1563 h 2150"/>
              <a:gd name="T68" fmla="*/ 779 w 3162"/>
              <a:gd name="T69" fmla="*/ 1123 h 2150"/>
              <a:gd name="T70" fmla="*/ 394 w 3162"/>
              <a:gd name="T71" fmla="*/ 1456 h 2150"/>
              <a:gd name="T72" fmla="*/ 394 w 3162"/>
              <a:gd name="T73" fmla="*/ 1456 h 2150"/>
              <a:gd name="T74" fmla="*/ 730 w 3162"/>
              <a:gd name="T75" fmla="*/ 1147 h 2150"/>
              <a:gd name="T76" fmla="*/ 730 w 3162"/>
              <a:gd name="T77" fmla="*/ 1147 h 2150"/>
              <a:gd name="T78" fmla="*/ 2090 w 3162"/>
              <a:gd name="T79" fmla="*/ 1387 h 2150"/>
              <a:gd name="T80" fmla="*/ 1909 w 3162"/>
              <a:gd name="T81" fmla="*/ 1116 h 2150"/>
              <a:gd name="T82" fmla="*/ 1360 w 3162"/>
              <a:gd name="T83" fmla="*/ 1038 h 2150"/>
              <a:gd name="T84" fmla="*/ 1643 w 3162"/>
              <a:gd name="T85" fmla="*/ 608 h 2150"/>
              <a:gd name="T86" fmla="*/ 1700 w 3162"/>
              <a:gd name="T87" fmla="*/ 181 h 2150"/>
              <a:gd name="T88" fmla="*/ 2216 w 3162"/>
              <a:gd name="T89" fmla="*/ 631 h 2150"/>
              <a:gd name="T90" fmla="*/ 2245 w 3162"/>
              <a:gd name="T91" fmla="*/ 712 h 2150"/>
              <a:gd name="T92" fmla="*/ 2066 w 3162"/>
              <a:gd name="T93" fmla="*/ 1368 h 2150"/>
              <a:gd name="T94" fmla="*/ 1437 w 3162"/>
              <a:gd name="T95" fmla="*/ 1081 h 2150"/>
              <a:gd name="T96" fmla="*/ 1925 w 3162"/>
              <a:gd name="T97" fmla="*/ 1306 h 2150"/>
              <a:gd name="T98" fmla="*/ 1949 w 3162"/>
              <a:gd name="T99" fmla="*/ 1312 h 2150"/>
              <a:gd name="T100" fmla="*/ 1733 w 3162"/>
              <a:gd name="T101" fmla="*/ 1818 h 2150"/>
              <a:gd name="T102" fmla="*/ 1651 w 3162"/>
              <a:gd name="T103" fmla="*/ 1364 h 2150"/>
              <a:gd name="T104" fmla="*/ 1962 w 3162"/>
              <a:gd name="T105" fmla="*/ 1484 h 2150"/>
              <a:gd name="T106" fmla="*/ 1934 w 3162"/>
              <a:gd name="T107" fmla="*/ 1843 h 2150"/>
              <a:gd name="T108" fmla="*/ 2150 w 3162"/>
              <a:gd name="T109" fmla="*/ 1690 h 2150"/>
              <a:gd name="T110" fmla="*/ 1978 w 3162"/>
              <a:gd name="T111" fmla="*/ 1496 h 2150"/>
              <a:gd name="T112" fmla="*/ 893 w 3162"/>
              <a:gd name="T113" fmla="*/ 1047 h 2150"/>
              <a:gd name="T114" fmla="*/ 1229 w 3162"/>
              <a:gd name="T115" fmla="*/ 1432 h 2150"/>
              <a:gd name="T116" fmla="*/ 1097 w 3162"/>
              <a:gd name="T117" fmla="*/ 1406 h 2150"/>
              <a:gd name="T118" fmla="*/ 693 w 3162"/>
              <a:gd name="T119" fmla="*/ 1380 h 2150"/>
              <a:gd name="T120" fmla="*/ 785 w 3162"/>
              <a:gd name="T121" fmla="*/ 1842 h 2150"/>
              <a:gd name="T122" fmla="*/ 1229 w 3162"/>
              <a:gd name="T123" fmla="*/ 1990 h 2150"/>
              <a:gd name="T124" fmla="*/ 1520 w 3162"/>
              <a:gd name="T125" fmla="*/ 1266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2" h="2150">
                <a:moveTo>
                  <a:pt x="762" y="1139"/>
                </a:moveTo>
                <a:cubicBezTo>
                  <a:pt x="766" y="1135"/>
                  <a:pt x="770" y="1131"/>
                  <a:pt x="775" y="1127"/>
                </a:cubicBezTo>
                <a:cubicBezTo>
                  <a:pt x="774" y="1127"/>
                  <a:pt x="774" y="1127"/>
                  <a:pt x="774" y="1128"/>
                </a:cubicBezTo>
                <a:cubicBezTo>
                  <a:pt x="770" y="1131"/>
                  <a:pt x="766" y="1135"/>
                  <a:pt x="762" y="1139"/>
                </a:cubicBezTo>
                <a:close/>
                <a:moveTo>
                  <a:pt x="1275" y="447"/>
                </a:moveTo>
                <a:cubicBezTo>
                  <a:pt x="1258" y="479"/>
                  <a:pt x="1243" y="513"/>
                  <a:pt x="1232" y="548"/>
                </a:cubicBezTo>
                <a:cubicBezTo>
                  <a:pt x="1232" y="548"/>
                  <a:pt x="1232" y="548"/>
                  <a:pt x="1232" y="548"/>
                </a:cubicBezTo>
                <a:cubicBezTo>
                  <a:pt x="1108" y="636"/>
                  <a:pt x="1108" y="636"/>
                  <a:pt x="1108" y="636"/>
                </a:cubicBezTo>
                <a:cubicBezTo>
                  <a:pt x="1145" y="696"/>
                  <a:pt x="1150" y="767"/>
                  <a:pt x="1127" y="830"/>
                </a:cubicBezTo>
                <a:cubicBezTo>
                  <a:pt x="1196" y="861"/>
                  <a:pt x="1196" y="861"/>
                  <a:pt x="1196" y="861"/>
                </a:cubicBezTo>
                <a:cubicBezTo>
                  <a:pt x="1197" y="873"/>
                  <a:pt x="1199" y="886"/>
                  <a:pt x="1201" y="899"/>
                </a:cubicBezTo>
                <a:cubicBezTo>
                  <a:pt x="1114" y="859"/>
                  <a:pt x="1114" y="859"/>
                  <a:pt x="1114" y="859"/>
                </a:cubicBezTo>
                <a:cubicBezTo>
                  <a:pt x="1098" y="888"/>
                  <a:pt x="1076" y="914"/>
                  <a:pt x="1048" y="934"/>
                </a:cubicBezTo>
                <a:cubicBezTo>
                  <a:pt x="1019" y="954"/>
                  <a:pt x="988" y="967"/>
                  <a:pt x="956" y="972"/>
                </a:cubicBezTo>
                <a:cubicBezTo>
                  <a:pt x="960" y="1019"/>
                  <a:pt x="960" y="1019"/>
                  <a:pt x="960" y="1019"/>
                </a:cubicBezTo>
                <a:cubicBezTo>
                  <a:pt x="950" y="1022"/>
                  <a:pt x="939" y="1026"/>
                  <a:pt x="929" y="1031"/>
                </a:cubicBezTo>
                <a:cubicBezTo>
                  <a:pt x="923" y="975"/>
                  <a:pt x="923" y="975"/>
                  <a:pt x="923" y="975"/>
                </a:cubicBezTo>
                <a:cubicBezTo>
                  <a:pt x="857" y="977"/>
                  <a:pt x="791" y="949"/>
                  <a:pt x="746" y="895"/>
                </a:cubicBezTo>
                <a:cubicBezTo>
                  <a:pt x="642" y="969"/>
                  <a:pt x="642" y="969"/>
                  <a:pt x="642" y="969"/>
                </a:cubicBezTo>
                <a:cubicBezTo>
                  <a:pt x="632" y="963"/>
                  <a:pt x="622" y="957"/>
                  <a:pt x="612" y="951"/>
                </a:cubicBezTo>
                <a:cubicBezTo>
                  <a:pt x="727" y="869"/>
                  <a:pt x="727" y="869"/>
                  <a:pt x="727" y="869"/>
                </a:cubicBezTo>
                <a:cubicBezTo>
                  <a:pt x="690" y="809"/>
                  <a:pt x="685" y="737"/>
                  <a:pt x="708" y="675"/>
                </a:cubicBezTo>
                <a:cubicBezTo>
                  <a:pt x="540" y="598"/>
                  <a:pt x="540" y="598"/>
                  <a:pt x="540" y="598"/>
                </a:cubicBezTo>
                <a:cubicBezTo>
                  <a:pt x="498" y="702"/>
                  <a:pt x="499" y="821"/>
                  <a:pt x="549" y="925"/>
                </a:cubicBezTo>
                <a:cubicBezTo>
                  <a:pt x="524" y="918"/>
                  <a:pt x="500" y="913"/>
                  <a:pt x="476" y="910"/>
                </a:cubicBezTo>
                <a:cubicBezTo>
                  <a:pt x="454" y="849"/>
                  <a:pt x="444" y="782"/>
                  <a:pt x="450" y="713"/>
                </a:cubicBezTo>
                <a:cubicBezTo>
                  <a:pt x="471" y="455"/>
                  <a:pt x="698" y="263"/>
                  <a:pt x="957" y="284"/>
                </a:cubicBezTo>
                <a:cubicBezTo>
                  <a:pt x="1085" y="295"/>
                  <a:pt x="1197" y="356"/>
                  <a:pt x="1275" y="447"/>
                </a:cubicBezTo>
                <a:close/>
                <a:moveTo>
                  <a:pt x="880" y="532"/>
                </a:moveTo>
                <a:cubicBezTo>
                  <a:pt x="862" y="348"/>
                  <a:pt x="862" y="348"/>
                  <a:pt x="862" y="348"/>
                </a:cubicBezTo>
                <a:cubicBezTo>
                  <a:pt x="799" y="356"/>
                  <a:pt x="736" y="380"/>
                  <a:pt x="681" y="420"/>
                </a:cubicBezTo>
                <a:cubicBezTo>
                  <a:pt x="625" y="460"/>
                  <a:pt x="582" y="511"/>
                  <a:pt x="553" y="569"/>
                </a:cubicBezTo>
                <a:cubicBezTo>
                  <a:pt x="722" y="645"/>
                  <a:pt x="722" y="645"/>
                  <a:pt x="722" y="645"/>
                </a:cubicBezTo>
                <a:cubicBezTo>
                  <a:pt x="737" y="617"/>
                  <a:pt x="760" y="591"/>
                  <a:pt x="788" y="570"/>
                </a:cubicBezTo>
                <a:cubicBezTo>
                  <a:pt x="816" y="550"/>
                  <a:pt x="848" y="537"/>
                  <a:pt x="880" y="532"/>
                </a:cubicBezTo>
                <a:close/>
                <a:moveTo>
                  <a:pt x="1240" y="502"/>
                </a:moveTo>
                <a:cubicBezTo>
                  <a:pt x="1155" y="392"/>
                  <a:pt x="1025" y="338"/>
                  <a:pt x="895" y="345"/>
                </a:cubicBezTo>
                <a:cubicBezTo>
                  <a:pt x="912" y="529"/>
                  <a:pt x="912" y="529"/>
                  <a:pt x="912" y="529"/>
                </a:cubicBezTo>
                <a:cubicBezTo>
                  <a:pt x="979" y="527"/>
                  <a:pt x="1045" y="555"/>
                  <a:pt x="1090" y="610"/>
                </a:cubicBezTo>
                <a:lnTo>
                  <a:pt x="1240" y="502"/>
                </a:lnTo>
                <a:close/>
                <a:moveTo>
                  <a:pt x="741" y="1160"/>
                </a:moveTo>
                <a:cubicBezTo>
                  <a:pt x="735" y="1166"/>
                  <a:pt x="730" y="1172"/>
                  <a:pt x="725" y="1177"/>
                </a:cubicBezTo>
                <a:cubicBezTo>
                  <a:pt x="730" y="1172"/>
                  <a:pt x="735" y="1166"/>
                  <a:pt x="741" y="1160"/>
                </a:cubicBezTo>
                <a:close/>
                <a:moveTo>
                  <a:pt x="742" y="1158"/>
                </a:moveTo>
                <a:cubicBezTo>
                  <a:pt x="747" y="1153"/>
                  <a:pt x="752" y="1148"/>
                  <a:pt x="757" y="1143"/>
                </a:cubicBezTo>
                <a:cubicBezTo>
                  <a:pt x="752" y="1148"/>
                  <a:pt x="747" y="1153"/>
                  <a:pt x="742" y="1158"/>
                </a:cubicBezTo>
                <a:close/>
                <a:moveTo>
                  <a:pt x="549" y="926"/>
                </a:moveTo>
                <a:cubicBezTo>
                  <a:pt x="553" y="927"/>
                  <a:pt x="557" y="928"/>
                  <a:pt x="560" y="929"/>
                </a:cubicBezTo>
                <a:cubicBezTo>
                  <a:pt x="557" y="928"/>
                  <a:pt x="553" y="927"/>
                  <a:pt x="549" y="925"/>
                </a:cubicBezTo>
                <a:cubicBezTo>
                  <a:pt x="549" y="925"/>
                  <a:pt x="549" y="925"/>
                  <a:pt x="549" y="926"/>
                </a:cubicBezTo>
                <a:close/>
                <a:moveTo>
                  <a:pt x="592" y="942"/>
                </a:moveTo>
                <a:cubicBezTo>
                  <a:pt x="599" y="945"/>
                  <a:pt x="605" y="948"/>
                  <a:pt x="611" y="951"/>
                </a:cubicBezTo>
                <a:cubicBezTo>
                  <a:pt x="612" y="951"/>
                  <a:pt x="612" y="951"/>
                  <a:pt x="612" y="951"/>
                </a:cubicBezTo>
                <a:cubicBezTo>
                  <a:pt x="605" y="948"/>
                  <a:pt x="599" y="945"/>
                  <a:pt x="592" y="942"/>
                </a:cubicBezTo>
                <a:close/>
                <a:moveTo>
                  <a:pt x="642" y="969"/>
                </a:moveTo>
                <a:cubicBezTo>
                  <a:pt x="644" y="970"/>
                  <a:pt x="646" y="972"/>
                  <a:pt x="648" y="973"/>
                </a:cubicBezTo>
                <a:cubicBezTo>
                  <a:pt x="646" y="971"/>
                  <a:pt x="644" y="970"/>
                  <a:pt x="642" y="969"/>
                </a:cubicBezTo>
                <a:close/>
                <a:moveTo>
                  <a:pt x="775" y="1127"/>
                </a:moveTo>
                <a:cubicBezTo>
                  <a:pt x="777" y="1125"/>
                  <a:pt x="779" y="1124"/>
                  <a:pt x="781" y="1122"/>
                </a:cubicBezTo>
                <a:cubicBezTo>
                  <a:pt x="780" y="1122"/>
                  <a:pt x="779" y="1123"/>
                  <a:pt x="779" y="1124"/>
                </a:cubicBezTo>
                <a:cubicBezTo>
                  <a:pt x="777" y="1125"/>
                  <a:pt x="776" y="1126"/>
                  <a:pt x="775" y="1127"/>
                </a:cubicBezTo>
                <a:close/>
                <a:moveTo>
                  <a:pt x="960" y="1019"/>
                </a:moveTo>
                <a:cubicBezTo>
                  <a:pt x="967" y="1016"/>
                  <a:pt x="974" y="1014"/>
                  <a:pt x="982" y="1012"/>
                </a:cubicBezTo>
                <a:cubicBezTo>
                  <a:pt x="974" y="1014"/>
                  <a:pt x="967" y="1016"/>
                  <a:pt x="960" y="1019"/>
                </a:cubicBezTo>
                <a:close/>
                <a:moveTo>
                  <a:pt x="1220" y="583"/>
                </a:moveTo>
                <a:cubicBezTo>
                  <a:pt x="1223" y="574"/>
                  <a:pt x="1226" y="564"/>
                  <a:pt x="1229" y="555"/>
                </a:cubicBezTo>
                <a:cubicBezTo>
                  <a:pt x="1226" y="564"/>
                  <a:pt x="1223" y="574"/>
                  <a:pt x="1220" y="583"/>
                </a:cubicBezTo>
                <a:close/>
                <a:moveTo>
                  <a:pt x="2658" y="1554"/>
                </a:moveTo>
                <a:cubicBezTo>
                  <a:pt x="2648" y="1634"/>
                  <a:pt x="2604" y="1709"/>
                  <a:pt x="2530" y="1755"/>
                </a:cubicBezTo>
                <a:cubicBezTo>
                  <a:pt x="2425" y="1820"/>
                  <a:pt x="2294" y="1807"/>
                  <a:pt x="2205" y="1732"/>
                </a:cubicBezTo>
                <a:cubicBezTo>
                  <a:pt x="2209" y="1711"/>
                  <a:pt x="2212" y="1689"/>
                  <a:pt x="2213" y="1667"/>
                </a:cubicBezTo>
                <a:cubicBezTo>
                  <a:pt x="2213" y="1668"/>
                  <a:pt x="2213" y="1669"/>
                  <a:pt x="2213" y="1670"/>
                </a:cubicBezTo>
                <a:cubicBezTo>
                  <a:pt x="2224" y="1682"/>
                  <a:pt x="2236" y="1694"/>
                  <a:pt x="2249" y="1703"/>
                </a:cubicBezTo>
                <a:cubicBezTo>
                  <a:pt x="2290" y="1643"/>
                  <a:pt x="2290" y="1643"/>
                  <a:pt x="2290" y="1643"/>
                </a:cubicBezTo>
                <a:cubicBezTo>
                  <a:pt x="2252" y="1614"/>
                  <a:pt x="2227" y="1568"/>
                  <a:pt x="2228" y="1517"/>
                </a:cubicBezTo>
                <a:cubicBezTo>
                  <a:pt x="2183" y="1514"/>
                  <a:pt x="2183" y="1514"/>
                  <a:pt x="2183" y="1514"/>
                </a:cubicBezTo>
                <a:cubicBezTo>
                  <a:pt x="2184" y="1516"/>
                  <a:pt x="2185" y="1518"/>
                  <a:pt x="2186" y="1520"/>
                </a:cubicBezTo>
                <a:cubicBezTo>
                  <a:pt x="2181" y="1507"/>
                  <a:pt x="2175" y="1495"/>
                  <a:pt x="2168" y="1483"/>
                </a:cubicBezTo>
                <a:cubicBezTo>
                  <a:pt x="2171" y="1488"/>
                  <a:pt x="2173" y="1492"/>
                  <a:pt x="2175" y="1497"/>
                </a:cubicBezTo>
                <a:cubicBezTo>
                  <a:pt x="2230" y="1501"/>
                  <a:pt x="2230" y="1501"/>
                  <a:pt x="2230" y="1501"/>
                </a:cubicBezTo>
                <a:cubicBezTo>
                  <a:pt x="2233" y="1477"/>
                  <a:pt x="2241" y="1455"/>
                  <a:pt x="2253" y="1436"/>
                </a:cubicBezTo>
                <a:cubicBezTo>
                  <a:pt x="2293" y="1416"/>
                  <a:pt x="2330" y="1393"/>
                  <a:pt x="2365" y="1366"/>
                </a:cubicBezTo>
                <a:cubicBezTo>
                  <a:pt x="2374" y="1365"/>
                  <a:pt x="2384" y="1365"/>
                  <a:pt x="2394" y="1365"/>
                </a:cubicBezTo>
                <a:cubicBezTo>
                  <a:pt x="2416" y="1367"/>
                  <a:pt x="2436" y="1373"/>
                  <a:pt x="2454" y="1382"/>
                </a:cubicBezTo>
                <a:cubicBezTo>
                  <a:pt x="2454" y="1382"/>
                  <a:pt x="2453" y="1381"/>
                  <a:pt x="2453" y="1380"/>
                </a:cubicBezTo>
                <a:cubicBezTo>
                  <a:pt x="2473" y="1418"/>
                  <a:pt x="2500" y="1451"/>
                  <a:pt x="2532" y="1480"/>
                </a:cubicBezTo>
                <a:cubicBezTo>
                  <a:pt x="2536" y="1493"/>
                  <a:pt x="2538" y="1508"/>
                  <a:pt x="2538" y="1523"/>
                </a:cubicBezTo>
                <a:cubicBezTo>
                  <a:pt x="2599" y="1527"/>
                  <a:pt x="2599" y="1527"/>
                  <a:pt x="2599" y="1527"/>
                </a:cubicBezTo>
                <a:cubicBezTo>
                  <a:pt x="2599" y="1527"/>
                  <a:pt x="2599" y="1527"/>
                  <a:pt x="2599" y="1527"/>
                </a:cubicBezTo>
                <a:cubicBezTo>
                  <a:pt x="2618" y="1538"/>
                  <a:pt x="2638" y="1547"/>
                  <a:pt x="2658" y="1554"/>
                </a:cubicBezTo>
                <a:close/>
                <a:moveTo>
                  <a:pt x="2475" y="1727"/>
                </a:moveTo>
                <a:cubicBezTo>
                  <a:pt x="2443" y="1662"/>
                  <a:pt x="2443" y="1662"/>
                  <a:pt x="2443" y="1662"/>
                </a:cubicBezTo>
                <a:cubicBezTo>
                  <a:pt x="2422" y="1671"/>
                  <a:pt x="2397" y="1676"/>
                  <a:pt x="2372" y="1674"/>
                </a:cubicBezTo>
                <a:cubicBezTo>
                  <a:pt x="2347" y="1672"/>
                  <a:pt x="2323" y="1664"/>
                  <a:pt x="2303" y="1652"/>
                </a:cubicBezTo>
                <a:cubicBezTo>
                  <a:pt x="2262" y="1712"/>
                  <a:pt x="2262" y="1712"/>
                  <a:pt x="2262" y="1712"/>
                </a:cubicBezTo>
                <a:cubicBezTo>
                  <a:pt x="2293" y="1732"/>
                  <a:pt x="2328" y="1744"/>
                  <a:pt x="2367" y="1746"/>
                </a:cubicBezTo>
                <a:cubicBezTo>
                  <a:pt x="2405" y="1749"/>
                  <a:pt x="2442" y="1742"/>
                  <a:pt x="2475" y="1727"/>
                </a:cubicBezTo>
                <a:close/>
                <a:moveTo>
                  <a:pt x="2609" y="1544"/>
                </a:moveTo>
                <a:cubicBezTo>
                  <a:pt x="2536" y="1539"/>
                  <a:pt x="2536" y="1539"/>
                  <a:pt x="2536" y="1539"/>
                </a:cubicBezTo>
                <a:cubicBezTo>
                  <a:pt x="2530" y="1589"/>
                  <a:pt x="2500" y="1632"/>
                  <a:pt x="2458" y="1655"/>
                </a:cubicBezTo>
                <a:cubicBezTo>
                  <a:pt x="2490" y="1720"/>
                  <a:pt x="2490" y="1720"/>
                  <a:pt x="2490" y="1720"/>
                </a:cubicBezTo>
                <a:cubicBezTo>
                  <a:pt x="2554" y="1686"/>
                  <a:pt x="2601" y="1621"/>
                  <a:pt x="2609" y="1544"/>
                </a:cubicBezTo>
                <a:close/>
                <a:moveTo>
                  <a:pt x="2278" y="1319"/>
                </a:moveTo>
                <a:cubicBezTo>
                  <a:pt x="2278" y="1319"/>
                  <a:pt x="2278" y="1319"/>
                  <a:pt x="2278" y="1319"/>
                </a:cubicBezTo>
                <a:moveTo>
                  <a:pt x="2268" y="1324"/>
                </a:moveTo>
                <a:cubicBezTo>
                  <a:pt x="2268" y="1324"/>
                  <a:pt x="2268" y="1324"/>
                  <a:pt x="2268" y="1324"/>
                </a:cubicBezTo>
                <a:moveTo>
                  <a:pt x="2301" y="1388"/>
                </a:moveTo>
                <a:cubicBezTo>
                  <a:pt x="2301" y="1388"/>
                  <a:pt x="2301" y="1388"/>
                  <a:pt x="2301" y="1388"/>
                </a:cubicBezTo>
                <a:moveTo>
                  <a:pt x="2312" y="1382"/>
                </a:moveTo>
                <a:cubicBezTo>
                  <a:pt x="2312" y="1382"/>
                  <a:pt x="2312" y="1382"/>
                  <a:pt x="2312" y="1382"/>
                </a:cubicBezTo>
                <a:moveTo>
                  <a:pt x="2303" y="1652"/>
                </a:moveTo>
                <a:cubicBezTo>
                  <a:pt x="2303" y="1652"/>
                  <a:pt x="2303" y="1652"/>
                  <a:pt x="2303" y="1652"/>
                </a:cubicBezTo>
                <a:moveTo>
                  <a:pt x="2293" y="1645"/>
                </a:moveTo>
                <a:cubicBezTo>
                  <a:pt x="2293" y="1645"/>
                  <a:pt x="2293" y="1645"/>
                  <a:pt x="2293" y="1645"/>
                </a:cubicBezTo>
                <a:moveTo>
                  <a:pt x="2256" y="1707"/>
                </a:moveTo>
                <a:cubicBezTo>
                  <a:pt x="2256" y="1707"/>
                  <a:pt x="2256" y="1707"/>
                  <a:pt x="2256" y="1707"/>
                </a:cubicBezTo>
                <a:moveTo>
                  <a:pt x="2266" y="1713"/>
                </a:moveTo>
                <a:cubicBezTo>
                  <a:pt x="2266" y="1713"/>
                  <a:pt x="2266" y="1713"/>
                  <a:pt x="2266" y="1713"/>
                </a:cubicBezTo>
                <a:moveTo>
                  <a:pt x="2456" y="1656"/>
                </a:moveTo>
                <a:cubicBezTo>
                  <a:pt x="2456" y="1656"/>
                  <a:pt x="2456" y="1656"/>
                  <a:pt x="2456" y="1656"/>
                </a:cubicBezTo>
                <a:moveTo>
                  <a:pt x="2446" y="1661"/>
                </a:moveTo>
                <a:cubicBezTo>
                  <a:pt x="2446" y="1661"/>
                  <a:pt x="2446" y="1661"/>
                  <a:pt x="2446" y="1661"/>
                </a:cubicBezTo>
                <a:moveTo>
                  <a:pt x="2479" y="1725"/>
                </a:moveTo>
                <a:cubicBezTo>
                  <a:pt x="2479" y="1725"/>
                  <a:pt x="2479" y="1725"/>
                  <a:pt x="2479" y="1725"/>
                </a:cubicBezTo>
                <a:moveTo>
                  <a:pt x="2490" y="1720"/>
                </a:moveTo>
                <a:cubicBezTo>
                  <a:pt x="2490" y="1720"/>
                  <a:pt x="2490" y="1720"/>
                  <a:pt x="2490" y="1720"/>
                </a:cubicBezTo>
                <a:moveTo>
                  <a:pt x="2610" y="1536"/>
                </a:moveTo>
                <a:cubicBezTo>
                  <a:pt x="2610" y="1536"/>
                  <a:pt x="2610" y="1536"/>
                  <a:pt x="2610" y="1536"/>
                </a:cubicBezTo>
                <a:moveTo>
                  <a:pt x="2610" y="1524"/>
                </a:moveTo>
                <a:cubicBezTo>
                  <a:pt x="2610" y="1524"/>
                  <a:pt x="2610" y="1524"/>
                  <a:pt x="2610" y="1524"/>
                </a:cubicBezTo>
                <a:moveTo>
                  <a:pt x="2538" y="1520"/>
                </a:moveTo>
                <a:cubicBezTo>
                  <a:pt x="2538" y="1520"/>
                  <a:pt x="2538" y="1520"/>
                  <a:pt x="2538" y="1520"/>
                </a:cubicBezTo>
                <a:moveTo>
                  <a:pt x="2538" y="1532"/>
                </a:moveTo>
                <a:cubicBezTo>
                  <a:pt x="2538" y="1532"/>
                  <a:pt x="2538" y="1532"/>
                  <a:pt x="2538" y="1532"/>
                </a:cubicBezTo>
                <a:moveTo>
                  <a:pt x="2229" y="1519"/>
                </a:moveTo>
                <a:cubicBezTo>
                  <a:pt x="2229" y="1519"/>
                  <a:pt x="2229" y="1519"/>
                  <a:pt x="2229" y="1519"/>
                </a:cubicBezTo>
                <a:moveTo>
                  <a:pt x="2229" y="1507"/>
                </a:moveTo>
                <a:cubicBezTo>
                  <a:pt x="2229" y="1507"/>
                  <a:pt x="2229" y="1507"/>
                  <a:pt x="2229" y="1507"/>
                </a:cubicBezTo>
                <a:moveTo>
                  <a:pt x="2158" y="1503"/>
                </a:moveTo>
                <a:cubicBezTo>
                  <a:pt x="2158" y="1503"/>
                  <a:pt x="2158" y="1503"/>
                  <a:pt x="2158" y="1503"/>
                </a:cubicBezTo>
                <a:moveTo>
                  <a:pt x="2157" y="1515"/>
                </a:moveTo>
                <a:cubicBezTo>
                  <a:pt x="2157" y="1515"/>
                  <a:pt x="2157" y="1515"/>
                  <a:pt x="2157" y="1515"/>
                </a:cubicBezTo>
                <a:moveTo>
                  <a:pt x="2198" y="1462"/>
                </a:moveTo>
                <a:cubicBezTo>
                  <a:pt x="2190" y="1465"/>
                  <a:pt x="2182" y="1468"/>
                  <a:pt x="2175" y="1470"/>
                </a:cubicBezTo>
                <a:cubicBezTo>
                  <a:pt x="2182" y="1468"/>
                  <a:pt x="2190" y="1465"/>
                  <a:pt x="2198" y="1462"/>
                </a:cubicBezTo>
                <a:close/>
                <a:moveTo>
                  <a:pt x="2424" y="1315"/>
                </a:moveTo>
                <a:cubicBezTo>
                  <a:pt x="2425" y="1314"/>
                  <a:pt x="2426" y="1313"/>
                  <a:pt x="2427" y="1312"/>
                </a:cubicBezTo>
                <a:cubicBezTo>
                  <a:pt x="2425" y="1315"/>
                  <a:pt x="2423" y="1317"/>
                  <a:pt x="2421" y="1319"/>
                </a:cubicBezTo>
                <a:cubicBezTo>
                  <a:pt x="2422" y="1318"/>
                  <a:pt x="2423" y="1317"/>
                  <a:pt x="2424" y="1315"/>
                </a:cubicBezTo>
                <a:close/>
                <a:moveTo>
                  <a:pt x="3161" y="1198"/>
                </a:moveTo>
                <a:cubicBezTo>
                  <a:pt x="3161" y="1407"/>
                  <a:pt x="2991" y="1576"/>
                  <a:pt x="2782" y="1575"/>
                </a:cubicBezTo>
                <a:cubicBezTo>
                  <a:pt x="2615" y="1575"/>
                  <a:pt x="2474" y="1466"/>
                  <a:pt x="2424" y="1315"/>
                </a:cubicBezTo>
                <a:cubicBezTo>
                  <a:pt x="2440" y="1300"/>
                  <a:pt x="2456" y="1284"/>
                  <a:pt x="2470" y="1267"/>
                </a:cubicBezTo>
                <a:cubicBezTo>
                  <a:pt x="2470" y="1268"/>
                  <a:pt x="2469" y="1269"/>
                  <a:pt x="2469" y="1270"/>
                </a:cubicBezTo>
                <a:cubicBezTo>
                  <a:pt x="2479" y="1314"/>
                  <a:pt x="2499" y="1356"/>
                  <a:pt x="2526" y="1393"/>
                </a:cubicBezTo>
                <a:cubicBezTo>
                  <a:pt x="2691" y="1251"/>
                  <a:pt x="2691" y="1251"/>
                  <a:pt x="2691" y="1251"/>
                </a:cubicBezTo>
                <a:cubicBezTo>
                  <a:pt x="2679" y="1230"/>
                  <a:pt x="2674" y="1206"/>
                  <a:pt x="2678" y="1182"/>
                </a:cubicBezTo>
                <a:cubicBezTo>
                  <a:pt x="2560" y="1141"/>
                  <a:pt x="2560" y="1141"/>
                  <a:pt x="2560" y="1141"/>
                </a:cubicBezTo>
                <a:cubicBezTo>
                  <a:pt x="2567" y="1128"/>
                  <a:pt x="2574" y="1115"/>
                  <a:pt x="2580" y="1102"/>
                </a:cubicBezTo>
                <a:cubicBezTo>
                  <a:pt x="2580" y="1103"/>
                  <a:pt x="2579" y="1104"/>
                  <a:pt x="2579" y="1105"/>
                </a:cubicBezTo>
                <a:cubicBezTo>
                  <a:pt x="2691" y="1144"/>
                  <a:pt x="2691" y="1144"/>
                  <a:pt x="2691" y="1144"/>
                </a:cubicBezTo>
                <a:cubicBezTo>
                  <a:pt x="2703" y="1123"/>
                  <a:pt x="2722" y="1107"/>
                  <a:pt x="2744" y="1098"/>
                </a:cubicBezTo>
                <a:cubicBezTo>
                  <a:pt x="2703" y="884"/>
                  <a:pt x="2703" y="884"/>
                  <a:pt x="2703" y="884"/>
                </a:cubicBezTo>
                <a:cubicBezTo>
                  <a:pt x="2682" y="890"/>
                  <a:pt x="2662" y="897"/>
                  <a:pt x="2642" y="907"/>
                </a:cubicBezTo>
                <a:cubicBezTo>
                  <a:pt x="2646" y="886"/>
                  <a:pt x="2649" y="865"/>
                  <a:pt x="2650" y="844"/>
                </a:cubicBezTo>
                <a:cubicBezTo>
                  <a:pt x="2692" y="828"/>
                  <a:pt x="2737" y="819"/>
                  <a:pt x="2784" y="819"/>
                </a:cubicBezTo>
                <a:cubicBezTo>
                  <a:pt x="2993" y="820"/>
                  <a:pt x="3162" y="989"/>
                  <a:pt x="3161" y="1198"/>
                </a:cubicBezTo>
                <a:close/>
                <a:moveTo>
                  <a:pt x="2784" y="1091"/>
                </a:moveTo>
                <a:cubicBezTo>
                  <a:pt x="2795" y="1091"/>
                  <a:pt x="2807" y="1092"/>
                  <a:pt x="2818" y="1096"/>
                </a:cubicBezTo>
                <a:cubicBezTo>
                  <a:pt x="2830" y="1100"/>
                  <a:pt x="2840" y="1106"/>
                  <a:pt x="2850" y="1114"/>
                </a:cubicBezTo>
                <a:cubicBezTo>
                  <a:pt x="3014" y="971"/>
                  <a:pt x="3014" y="971"/>
                  <a:pt x="3014" y="971"/>
                </a:cubicBezTo>
                <a:cubicBezTo>
                  <a:pt x="2980" y="937"/>
                  <a:pt x="2938" y="909"/>
                  <a:pt x="2889" y="892"/>
                </a:cubicBezTo>
                <a:cubicBezTo>
                  <a:pt x="2841" y="875"/>
                  <a:pt x="2791" y="871"/>
                  <a:pt x="2743" y="877"/>
                </a:cubicBezTo>
                <a:lnTo>
                  <a:pt x="2784" y="1091"/>
                </a:lnTo>
                <a:close/>
                <a:moveTo>
                  <a:pt x="2824" y="1518"/>
                </a:moveTo>
                <a:cubicBezTo>
                  <a:pt x="2783" y="1304"/>
                  <a:pt x="2783" y="1304"/>
                  <a:pt x="2783" y="1304"/>
                </a:cubicBezTo>
                <a:cubicBezTo>
                  <a:pt x="2772" y="1304"/>
                  <a:pt x="2760" y="1302"/>
                  <a:pt x="2748" y="1298"/>
                </a:cubicBezTo>
                <a:cubicBezTo>
                  <a:pt x="2737" y="1294"/>
                  <a:pt x="2726" y="1288"/>
                  <a:pt x="2717" y="1281"/>
                </a:cubicBezTo>
                <a:cubicBezTo>
                  <a:pt x="2553" y="1423"/>
                  <a:pt x="2553" y="1423"/>
                  <a:pt x="2553" y="1423"/>
                </a:cubicBezTo>
                <a:cubicBezTo>
                  <a:pt x="2586" y="1458"/>
                  <a:pt x="2629" y="1486"/>
                  <a:pt x="2677" y="1503"/>
                </a:cubicBezTo>
                <a:cubicBezTo>
                  <a:pt x="2726" y="1519"/>
                  <a:pt x="2776" y="1524"/>
                  <a:pt x="2824" y="1518"/>
                </a:cubicBezTo>
                <a:close/>
                <a:moveTo>
                  <a:pt x="3081" y="1322"/>
                </a:moveTo>
                <a:cubicBezTo>
                  <a:pt x="2876" y="1251"/>
                  <a:pt x="2876" y="1251"/>
                  <a:pt x="2876" y="1251"/>
                </a:cubicBezTo>
                <a:cubicBezTo>
                  <a:pt x="2864" y="1272"/>
                  <a:pt x="2845" y="1288"/>
                  <a:pt x="2823" y="1296"/>
                </a:cubicBezTo>
                <a:cubicBezTo>
                  <a:pt x="2864" y="1510"/>
                  <a:pt x="2864" y="1510"/>
                  <a:pt x="2864" y="1510"/>
                </a:cubicBezTo>
                <a:cubicBezTo>
                  <a:pt x="2959" y="1486"/>
                  <a:pt x="3041" y="1418"/>
                  <a:pt x="3081" y="1322"/>
                </a:cubicBezTo>
                <a:close/>
                <a:moveTo>
                  <a:pt x="3095" y="1284"/>
                </a:moveTo>
                <a:cubicBezTo>
                  <a:pt x="3123" y="1184"/>
                  <a:pt x="3100" y="1080"/>
                  <a:pt x="3041" y="1002"/>
                </a:cubicBezTo>
                <a:cubicBezTo>
                  <a:pt x="2876" y="1144"/>
                  <a:pt x="2876" y="1144"/>
                  <a:pt x="2876" y="1144"/>
                </a:cubicBezTo>
                <a:cubicBezTo>
                  <a:pt x="2888" y="1164"/>
                  <a:pt x="2892" y="1188"/>
                  <a:pt x="2889" y="1213"/>
                </a:cubicBezTo>
                <a:lnTo>
                  <a:pt x="3095" y="1284"/>
                </a:lnTo>
                <a:close/>
                <a:moveTo>
                  <a:pt x="779" y="1123"/>
                </a:moveTo>
                <a:cubicBezTo>
                  <a:pt x="753" y="1146"/>
                  <a:pt x="729" y="1171"/>
                  <a:pt x="708" y="1198"/>
                </a:cubicBezTo>
                <a:cubicBezTo>
                  <a:pt x="597" y="1245"/>
                  <a:pt x="597" y="1245"/>
                  <a:pt x="597" y="1245"/>
                </a:cubicBezTo>
                <a:cubicBezTo>
                  <a:pt x="610" y="1288"/>
                  <a:pt x="605" y="1337"/>
                  <a:pt x="580" y="1378"/>
                </a:cubicBezTo>
                <a:cubicBezTo>
                  <a:pt x="609" y="1400"/>
                  <a:pt x="609" y="1400"/>
                  <a:pt x="609" y="1400"/>
                </a:cubicBezTo>
                <a:cubicBezTo>
                  <a:pt x="610" y="1399"/>
                  <a:pt x="610" y="1398"/>
                  <a:pt x="611" y="1396"/>
                </a:cubicBezTo>
                <a:cubicBezTo>
                  <a:pt x="606" y="1412"/>
                  <a:pt x="603" y="1429"/>
                  <a:pt x="600" y="1445"/>
                </a:cubicBezTo>
                <a:cubicBezTo>
                  <a:pt x="600" y="1444"/>
                  <a:pt x="601" y="1443"/>
                  <a:pt x="601" y="1442"/>
                </a:cubicBezTo>
                <a:cubicBezTo>
                  <a:pt x="557" y="1409"/>
                  <a:pt x="557" y="1409"/>
                  <a:pt x="557" y="1409"/>
                </a:cubicBezTo>
                <a:cubicBezTo>
                  <a:pt x="523" y="1444"/>
                  <a:pt x="478" y="1461"/>
                  <a:pt x="433" y="1461"/>
                </a:cubicBezTo>
                <a:cubicBezTo>
                  <a:pt x="413" y="1620"/>
                  <a:pt x="413" y="1620"/>
                  <a:pt x="413" y="1620"/>
                </a:cubicBezTo>
                <a:cubicBezTo>
                  <a:pt x="476" y="1625"/>
                  <a:pt x="539" y="1611"/>
                  <a:pt x="595" y="1579"/>
                </a:cubicBezTo>
                <a:cubicBezTo>
                  <a:pt x="595" y="1574"/>
                  <a:pt x="594" y="1569"/>
                  <a:pt x="594" y="1563"/>
                </a:cubicBezTo>
                <a:cubicBezTo>
                  <a:pt x="594" y="1565"/>
                  <a:pt x="594" y="1566"/>
                  <a:pt x="594" y="1567"/>
                </a:cubicBezTo>
                <a:cubicBezTo>
                  <a:pt x="596" y="1590"/>
                  <a:pt x="599" y="1613"/>
                  <a:pt x="603" y="1636"/>
                </a:cubicBezTo>
                <a:cubicBezTo>
                  <a:pt x="511" y="1682"/>
                  <a:pt x="401" y="1690"/>
                  <a:pt x="297" y="1650"/>
                </a:cubicBezTo>
                <a:cubicBezTo>
                  <a:pt x="99" y="1574"/>
                  <a:pt x="0" y="1352"/>
                  <a:pt x="76" y="1154"/>
                </a:cubicBezTo>
                <a:cubicBezTo>
                  <a:pt x="152" y="956"/>
                  <a:pt x="374" y="858"/>
                  <a:pt x="572" y="934"/>
                </a:cubicBezTo>
                <a:cubicBezTo>
                  <a:pt x="666" y="970"/>
                  <a:pt x="738" y="1039"/>
                  <a:pt x="779" y="1123"/>
                </a:cubicBezTo>
                <a:close/>
                <a:moveTo>
                  <a:pt x="124" y="1401"/>
                </a:moveTo>
                <a:cubicBezTo>
                  <a:pt x="272" y="1339"/>
                  <a:pt x="272" y="1339"/>
                  <a:pt x="272" y="1339"/>
                </a:cubicBezTo>
                <a:cubicBezTo>
                  <a:pt x="260" y="1295"/>
                  <a:pt x="265" y="1247"/>
                  <a:pt x="289" y="1206"/>
                </a:cubicBezTo>
                <a:cubicBezTo>
                  <a:pt x="161" y="1109"/>
                  <a:pt x="161" y="1109"/>
                  <a:pt x="161" y="1109"/>
                </a:cubicBezTo>
                <a:cubicBezTo>
                  <a:pt x="101" y="1197"/>
                  <a:pt x="91" y="1306"/>
                  <a:pt x="124" y="1401"/>
                </a:cubicBezTo>
                <a:close/>
                <a:moveTo>
                  <a:pt x="394" y="1456"/>
                </a:moveTo>
                <a:cubicBezTo>
                  <a:pt x="372" y="1451"/>
                  <a:pt x="351" y="1441"/>
                  <a:pt x="332" y="1427"/>
                </a:cubicBezTo>
                <a:cubicBezTo>
                  <a:pt x="313" y="1412"/>
                  <a:pt x="298" y="1394"/>
                  <a:pt x="287" y="1375"/>
                </a:cubicBezTo>
                <a:cubicBezTo>
                  <a:pt x="139" y="1437"/>
                  <a:pt x="139" y="1437"/>
                  <a:pt x="139" y="1437"/>
                </a:cubicBezTo>
                <a:cubicBezTo>
                  <a:pt x="161" y="1482"/>
                  <a:pt x="193" y="1522"/>
                  <a:pt x="235" y="1554"/>
                </a:cubicBezTo>
                <a:cubicBezTo>
                  <a:pt x="278" y="1586"/>
                  <a:pt x="325" y="1607"/>
                  <a:pt x="374" y="1616"/>
                </a:cubicBezTo>
                <a:lnTo>
                  <a:pt x="394" y="1456"/>
                </a:lnTo>
                <a:close/>
                <a:moveTo>
                  <a:pt x="457" y="963"/>
                </a:moveTo>
                <a:cubicBezTo>
                  <a:pt x="356" y="957"/>
                  <a:pt x="254" y="996"/>
                  <a:pt x="184" y="1078"/>
                </a:cubicBezTo>
                <a:cubicBezTo>
                  <a:pt x="312" y="1175"/>
                  <a:pt x="312" y="1175"/>
                  <a:pt x="312" y="1175"/>
                </a:cubicBezTo>
                <a:cubicBezTo>
                  <a:pt x="346" y="1140"/>
                  <a:pt x="391" y="1122"/>
                  <a:pt x="436" y="1123"/>
                </a:cubicBezTo>
                <a:lnTo>
                  <a:pt x="457" y="963"/>
                </a:lnTo>
                <a:close/>
                <a:moveTo>
                  <a:pt x="730" y="1147"/>
                </a:moveTo>
                <a:cubicBezTo>
                  <a:pt x="708" y="1102"/>
                  <a:pt x="676" y="1062"/>
                  <a:pt x="634" y="1030"/>
                </a:cubicBezTo>
                <a:cubicBezTo>
                  <a:pt x="591" y="997"/>
                  <a:pt x="544" y="977"/>
                  <a:pt x="495" y="968"/>
                </a:cubicBezTo>
                <a:cubicBezTo>
                  <a:pt x="475" y="1128"/>
                  <a:pt x="475" y="1128"/>
                  <a:pt x="475" y="1128"/>
                </a:cubicBezTo>
                <a:cubicBezTo>
                  <a:pt x="497" y="1133"/>
                  <a:pt x="518" y="1143"/>
                  <a:pt x="537" y="1157"/>
                </a:cubicBezTo>
                <a:cubicBezTo>
                  <a:pt x="556" y="1172"/>
                  <a:pt x="571" y="1189"/>
                  <a:pt x="582" y="1209"/>
                </a:cubicBezTo>
                <a:lnTo>
                  <a:pt x="730" y="1147"/>
                </a:lnTo>
                <a:close/>
                <a:moveTo>
                  <a:pt x="594" y="1552"/>
                </a:moveTo>
                <a:cubicBezTo>
                  <a:pt x="594" y="1552"/>
                  <a:pt x="594" y="1553"/>
                  <a:pt x="594" y="1553"/>
                </a:cubicBezTo>
                <a:cubicBezTo>
                  <a:pt x="594" y="1554"/>
                  <a:pt x="594" y="1554"/>
                  <a:pt x="594" y="1555"/>
                </a:cubicBezTo>
                <a:cubicBezTo>
                  <a:pt x="594" y="1554"/>
                  <a:pt x="594" y="1553"/>
                  <a:pt x="594" y="1552"/>
                </a:cubicBezTo>
                <a:close/>
                <a:moveTo>
                  <a:pt x="2163" y="1475"/>
                </a:moveTo>
                <a:cubicBezTo>
                  <a:pt x="2143" y="1441"/>
                  <a:pt x="2118" y="1412"/>
                  <a:pt x="2090" y="1387"/>
                </a:cubicBezTo>
                <a:cubicBezTo>
                  <a:pt x="2095" y="1392"/>
                  <a:pt x="2101" y="1397"/>
                  <a:pt x="2106" y="1402"/>
                </a:cubicBezTo>
                <a:cubicBezTo>
                  <a:pt x="2119" y="1398"/>
                  <a:pt x="2132" y="1394"/>
                  <a:pt x="2145" y="1389"/>
                </a:cubicBezTo>
                <a:cubicBezTo>
                  <a:pt x="2241" y="1354"/>
                  <a:pt x="2323" y="1298"/>
                  <a:pt x="2389" y="1228"/>
                </a:cubicBezTo>
                <a:cubicBezTo>
                  <a:pt x="2148" y="1028"/>
                  <a:pt x="2148" y="1028"/>
                  <a:pt x="2148" y="1028"/>
                </a:cubicBezTo>
                <a:cubicBezTo>
                  <a:pt x="2116" y="1057"/>
                  <a:pt x="2079" y="1080"/>
                  <a:pt x="2037" y="1096"/>
                </a:cubicBezTo>
                <a:cubicBezTo>
                  <a:pt x="1995" y="1111"/>
                  <a:pt x="1951" y="1118"/>
                  <a:pt x="1909" y="1116"/>
                </a:cubicBezTo>
                <a:cubicBezTo>
                  <a:pt x="1877" y="1300"/>
                  <a:pt x="1877" y="1300"/>
                  <a:pt x="1877" y="1300"/>
                </a:cubicBezTo>
                <a:cubicBezTo>
                  <a:pt x="1848" y="1298"/>
                  <a:pt x="1819" y="1300"/>
                  <a:pt x="1790" y="1305"/>
                </a:cubicBezTo>
                <a:cubicBezTo>
                  <a:pt x="1825" y="1102"/>
                  <a:pt x="1825" y="1102"/>
                  <a:pt x="1825" y="1102"/>
                </a:cubicBezTo>
                <a:cubicBezTo>
                  <a:pt x="1742" y="1076"/>
                  <a:pt x="1671" y="1019"/>
                  <a:pt x="1629" y="939"/>
                </a:cubicBezTo>
                <a:cubicBezTo>
                  <a:pt x="1360" y="1038"/>
                  <a:pt x="1360" y="1038"/>
                  <a:pt x="1360" y="1038"/>
                </a:cubicBezTo>
                <a:cubicBezTo>
                  <a:pt x="1360" y="1038"/>
                  <a:pt x="1360" y="1038"/>
                  <a:pt x="1360" y="1038"/>
                </a:cubicBezTo>
                <a:cubicBezTo>
                  <a:pt x="1316" y="1019"/>
                  <a:pt x="1270" y="1005"/>
                  <a:pt x="1223" y="997"/>
                </a:cubicBezTo>
                <a:cubicBezTo>
                  <a:pt x="1214" y="966"/>
                  <a:pt x="1207" y="933"/>
                  <a:pt x="1201" y="900"/>
                </a:cubicBezTo>
                <a:cubicBezTo>
                  <a:pt x="1138" y="502"/>
                  <a:pt x="1409" y="128"/>
                  <a:pt x="1807" y="64"/>
                </a:cubicBezTo>
                <a:cubicBezTo>
                  <a:pt x="2205" y="0"/>
                  <a:pt x="2580" y="272"/>
                  <a:pt x="2643" y="670"/>
                </a:cubicBezTo>
                <a:cubicBezTo>
                  <a:pt x="2700" y="1025"/>
                  <a:pt x="2491" y="1361"/>
                  <a:pt x="2163" y="1475"/>
                </a:cubicBezTo>
                <a:close/>
                <a:moveTo>
                  <a:pt x="1643" y="608"/>
                </a:moveTo>
                <a:cubicBezTo>
                  <a:pt x="1401" y="407"/>
                  <a:pt x="1401" y="407"/>
                  <a:pt x="1401" y="407"/>
                </a:cubicBezTo>
                <a:cubicBezTo>
                  <a:pt x="1288" y="564"/>
                  <a:pt x="1247" y="770"/>
                  <a:pt x="1305" y="967"/>
                </a:cubicBezTo>
                <a:cubicBezTo>
                  <a:pt x="1600" y="859"/>
                  <a:pt x="1600" y="859"/>
                  <a:pt x="1600" y="859"/>
                </a:cubicBezTo>
                <a:cubicBezTo>
                  <a:pt x="1579" y="771"/>
                  <a:pt x="1597" y="681"/>
                  <a:pt x="1643" y="608"/>
                </a:cubicBezTo>
                <a:close/>
                <a:moveTo>
                  <a:pt x="1989" y="145"/>
                </a:moveTo>
                <a:cubicBezTo>
                  <a:pt x="1894" y="135"/>
                  <a:pt x="1795" y="146"/>
                  <a:pt x="1700" y="181"/>
                </a:cubicBezTo>
                <a:cubicBezTo>
                  <a:pt x="1604" y="216"/>
                  <a:pt x="1522" y="272"/>
                  <a:pt x="1456" y="342"/>
                </a:cubicBezTo>
                <a:cubicBezTo>
                  <a:pt x="1697" y="542"/>
                  <a:pt x="1697" y="542"/>
                  <a:pt x="1697" y="542"/>
                </a:cubicBezTo>
                <a:cubicBezTo>
                  <a:pt x="1728" y="513"/>
                  <a:pt x="1765" y="490"/>
                  <a:pt x="1808" y="474"/>
                </a:cubicBezTo>
                <a:cubicBezTo>
                  <a:pt x="1850" y="459"/>
                  <a:pt x="1894" y="452"/>
                  <a:pt x="1936" y="454"/>
                </a:cubicBezTo>
                <a:lnTo>
                  <a:pt x="1989" y="145"/>
                </a:lnTo>
                <a:close/>
                <a:moveTo>
                  <a:pt x="2216" y="631"/>
                </a:moveTo>
                <a:cubicBezTo>
                  <a:pt x="2510" y="523"/>
                  <a:pt x="2510" y="523"/>
                  <a:pt x="2510" y="523"/>
                </a:cubicBezTo>
                <a:cubicBezTo>
                  <a:pt x="2427" y="335"/>
                  <a:pt x="2262" y="205"/>
                  <a:pt x="2073" y="159"/>
                </a:cubicBezTo>
                <a:cubicBezTo>
                  <a:pt x="2020" y="469"/>
                  <a:pt x="2020" y="469"/>
                  <a:pt x="2020" y="469"/>
                </a:cubicBezTo>
                <a:cubicBezTo>
                  <a:pt x="2102" y="494"/>
                  <a:pt x="2174" y="551"/>
                  <a:pt x="2216" y="631"/>
                </a:cubicBezTo>
                <a:close/>
                <a:moveTo>
                  <a:pt x="2539" y="603"/>
                </a:moveTo>
                <a:cubicBezTo>
                  <a:pt x="2245" y="712"/>
                  <a:pt x="2245" y="712"/>
                  <a:pt x="2245" y="712"/>
                </a:cubicBezTo>
                <a:cubicBezTo>
                  <a:pt x="2265" y="800"/>
                  <a:pt x="2248" y="890"/>
                  <a:pt x="2202" y="962"/>
                </a:cubicBezTo>
                <a:cubicBezTo>
                  <a:pt x="2443" y="1163"/>
                  <a:pt x="2443" y="1163"/>
                  <a:pt x="2443" y="1163"/>
                </a:cubicBezTo>
                <a:cubicBezTo>
                  <a:pt x="2557" y="1006"/>
                  <a:pt x="2598" y="800"/>
                  <a:pt x="2539" y="603"/>
                </a:cubicBezTo>
                <a:close/>
                <a:moveTo>
                  <a:pt x="2066" y="1368"/>
                </a:moveTo>
                <a:cubicBezTo>
                  <a:pt x="2072" y="1372"/>
                  <a:pt x="2078" y="1377"/>
                  <a:pt x="2084" y="1382"/>
                </a:cubicBezTo>
                <a:cubicBezTo>
                  <a:pt x="2078" y="1377"/>
                  <a:pt x="2072" y="1372"/>
                  <a:pt x="2066" y="1368"/>
                </a:cubicBezTo>
                <a:close/>
                <a:moveTo>
                  <a:pt x="1390" y="1053"/>
                </a:moveTo>
                <a:cubicBezTo>
                  <a:pt x="1383" y="1050"/>
                  <a:pt x="1377" y="1046"/>
                  <a:pt x="1370" y="1043"/>
                </a:cubicBezTo>
                <a:cubicBezTo>
                  <a:pt x="1377" y="1046"/>
                  <a:pt x="1383" y="1050"/>
                  <a:pt x="1390" y="1053"/>
                </a:cubicBezTo>
                <a:close/>
                <a:moveTo>
                  <a:pt x="1437" y="1081"/>
                </a:moveTo>
                <a:cubicBezTo>
                  <a:pt x="1432" y="1078"/>
                  <a:pt x="1426" y="1074"/>
                  <a:pt x="1420" y="1070"/>
                </a:cubicBezTo>
                <a:cubicBezTo>
                  <a:pt x="1426" y="1074"/>
                  <a:pt x="1432" y="1078"/>
                  <a:pt x="1437" y="1081"/>
                </a:cubicBezTo>
                <a:close/>
                <a:moveTo>
                  <a:pt x="1764" y="1311"/>
                </a:moveTo>
                <a:cubicBezTo>
                  <a:pt x="1773" y="1309"/>
                  <a:pt x="1781" y="1307"/>
                  <a:pt x="1790" y="1305"/>
                </a:cubicBezTo>
                <a:cubicBezTo>
                  <a:pt x="1790" y="1305"/>
                  <a:pt x="1790" y="1305"/>
                  <a:pt x="1790" y="1305"/>
                </a:cubicBezTo>
                <a:cubicBezTo>
                  <a:pt x="1781" y="1307"/>
                  <a:pt x="1773" y="1309"/>
                  <a:pt x="1764" y="1311"/>
                </a:cubicBezTo>
                <a:close/>
                <a:moveTo>
                  <a:pt x="1877" y="1300"/>
                </a:moveTo>
                <a:cubicBezTo>
                  <a:pt x="1893" y="1301"/>
                  <a:pt x="1909" y="1303"/>
                  <a:pt x="1925" y="1306"/>
                </a:cubicBezTo>
                <a:cubicBezTo>
                  <a:pt x="1909" y="1303"/>
                  <a:pt x="1893" y="1301"/>
                  <a:pt x="1877" y="1300"/>
                </a:cubicBezTo>
                <a:close/>
                <a:moveTo>
                  <a:pt x="1940" y="1309"/>
                </a:moveTo>
                <a:cubicBezTo>
                  <a:pt x="1935" y="1308"/>
                  <a:pt x="1930" y="1307"/>
                  <a:pt x="1925" y="1306"/>
                </a:cubicBezTo>
                <a:cubicBezTo>
                  <a:pt x="1930" y="1307"/>
                  <a:pt x="1935" y="1308"/>
                  <a:pt x="1940" y="1309"/>
                </a:cubicBezTo>
                <a:close/>
                <a:moveTo>
                  <a:pt x="1964" y="1316"/>
                </a:moveTo>
                <a:cubicBezTo>
                  <a:pt x="1959" y="1315"/>
                  <a:pt x="1954" y="1313"/>
                  <a:pt x="1949" y="1312"/>
                </a:cubicBezTo>
                <a:cubicBezTo>
                  <a:pt x="1954" y="1313"/>
                  <a:pt x="1959" y="1315"/>
                  <a:pt x="1964" y="1316"/>
                </a:cubicBezTo>
                <a:close/>
                <a:moveTo>
                  <a:pt x="1963" y="1997"/>
                </a:moveTo>
                <a:cubicBezTo>
                  <a:pt x="1811" y="2045"/>
                  <a:pt x="1651" y="1986"/>
                  <a:pt x="1564" y="1863"/>
                </a:cubicBezTo>
                <a:cubicBezTo>
                  <a:pt x="1578" y="1846"/>
                  <a:pt x="1590" y="1827"/>
                  <a:pt x="1602" y="1808"/>
                </a:cubicBezTo>
                <a:cubicBezTo>
                  <a:pt x="1622" y="1842"/>
                  <a:pt x="1648" y="1871"/>
                  <a:pt x="1680" y="1895"/>
                </a:cubicBezTo>
                <a:cubicBezTo>
                  <a:pt x="1733" y="1818"/>
                  <a:pt x="1733" y="1818"/>
                  <a:pt x="1733" y="1818"/>
                </a:cubicBezTo>
                <a:cubicBezTo>
                  <a:pt x="1691" y="1786"/>
                  <a:pt x="1663" y="1738"/>
                  <a:pt x="1655" y="1685"/>
                </a:cubicBezTo>
                <a:cubicBezTo>
                  <a:pt x="1667" y="1645"/>
                  <a:pt x="1674" y="1604"/>
                  <a:pt x="1677" y="1562"/>
                </a:cubicBezTo>
                <a:cubicBezTo>
                  <a:pt x="1695" y="1527"/>
                  <a:pt x="1724" y="1498"/>
                  <a:pt x="1759" y="1479"/>
                </a:cubicBezTo>
                <a:cubicBezTo>
                  <a:pt x="1719" y="1394"/>
                  <a:pt x="1719" y="1394"/>
                  <a:pt x="1719" y="1394"/>
                </a:cubicBezTo>
                <a:cubicBezTo>
                  <a:pt x="1701" y="1404"/>
                  <a:pt x="1683" y="1415"/>
                  <a:pt x="1668" y="1428"/>
                </a:cubicBezTo>
                <a:cubicBezTo>
                  <a:pt x="1663" y="1407"/>
                  <a:pt x="1658" y="1385"/>
                  <a:pt x="1651" y="1364"/>
                </a:cubicBezTo>
                <a:cubicBezTo>
                  <a:pt x="1680" y="1343"/>
                  <a:pt x="1713" y="1327"/>
                  <a:pt x="1749" y="1316"/>
                </a:cubicBezTo>
                <a:cubicBezTo>
                  <a:pt x="1937" y="1257"/>
                  <a:pt x="2137" y="1361"/>
                  <a:pt x="2196" y="1550"/>
                </a:cubicBezTo>
                <a:cubicBezTo>
                  <a:pt x="2256" y="1738"/>
                  <a:pt x="2151" y="1938"/>
                  <a:pt x="1963" y="1997"/>
                </a:cubicBezTo>
                <a:close/>
                <a:moveTo>
                  <a:pt x="1778" y="1470"/>
                </a:moveTo>
                <a:cubicBezTo>
                  <a:pt x="1806" y="1458"/>
                  <a:pt x="1838" y="1452"/>
                  <a:pt x="1871" y="1455"/>
                </a:cubicBezTo>
                <a:cubicBezTo>
                  <a:pt x="1904" y="1457"/>
                  <a:pt x="1935" y="1468"/>
                  <a:pt x="1962" y="1484"/>
                </a:cubicBezTo>
                <a:cubicBezTo>
                  <a:pt x="2015" y="1407"/>
                  <a:pt x="2015" y="1407"/>
                  <a:pt x="2015" y="1407"/>
                </a:cubicBezTo>
                <a:cubicBezTo>
                  <a:pt x="1975" y="1382"/>
                  <a:pt x="1929" y="1365"/>
                  <a:pt x="1878" y="1362"/>
                </a:cubicBezTo>
                <a:cubicBezTo>
                  <a:pt x="1828" y="1358"/>
                  <a:pt x="1780" y="1367"/>
                  <a:pt x="1737" y="1385"/>
                </a:cubicBezTo>
                <a:lnTo>
                  <a:pt x="1778" y="1470"/>
                </a:lnTo>
                <a:close/>
                <a:moveTo>
                  <a:pt x="1974" y="1928"/>
                </a:moveTo>
                <a:cubicBezTo>
                  <a:pt x="1934" y="1843"/>
                  <a:pt x="1934" y="1843"/>
                  <a:pt x="1934" y="1843"/>
                </a:cubicBezTo>
                <a:cubicBezTo>
                  <a:pt x="1905" y="1855"/>
                  <a:pt x="1873" y="1861"/>
                  <a:pt x="1840" y="1858"/>
                </a:cubicBezTo>
                <a:cubicBezTo>
                  <a:pt x="1807" y="1856"/>
                  <a:pt x="1776" y="1845"/>
                  <a:pt x="1750" y="1829"/>
                </a:cubicBezTo>
                <a:cubicBezTo>
                  <a:pt x="1697" y="1906"/>
                  <a:pt x="1697" y="1906"/>
                  <a:pt x="1697" y="1906"/>
                </a:cubicBezTo>
                <a:cubicBezTo>
                  <a:pt x="1736" y="1932"/>
                  <a:pt x="1783" y="1948"/>
                  <a:pt x="1833" y="1952"/>
                </a:cubicBezTo>
                <a:cubicBezTo>
                  <a:pt x="1883" y="1955"/>
                  <a:pt x="1931" y="1947"/>
                  <a:pt x="1974" y="1928"/>
                </a:cubicBezTo>
                <a:close/>
                <a:moveTo>
                  <a:pt x="2150" y="1690"/>
                </a:moveTo>
                <a:cubicBezTo>
                  <a:pt x="2056" y="1682"/>
                  <a:pt x="2056" y="1682"/>
                  <a:pt x="2056" y="1682"/>
                </a:cubicBezTo>
                <a:cubicBezTo>
                  <a:pt x="2048" y="1749"/>
                  <a:pt x="2007" y="1804"/>
                  <a:pt x="1952" y="1834"/>
                </a:cubicBezTo>
                <a:cubicBezTo>
                  <a:pt x="1992" y="1919"/>
                  <a:pt x="1992" y="1919"/>
                  <a:pt x="1992" y="1919"/>
                </a:cubicBezTo>
                <a:cubicBezTo>
                  <a:pt x="2077" y="1875"/>
                  <a:pt x="2138" y="1791"/>
                  <a:pt x="2150" y="1690"/>
                </a:cubicBezTo>
                <a:close/>
                <a:moveTo>
                  <a:pt x="2031" y="1418"/>
                </a:moveTo>
                <a:cubicBezTo>
                  <a:pt x="1978" y="1496"/>
                  <a:pt x="1978" y="1496"/>
                  <a:pt x="1978" y="1496"/>
                </a:cubicBezTo>
                <a:cubicBezTo>
                  <a:pt x="2028" y="1534"/>
                  <a:pt x="2060" y="1595"/>
                  <a:pt x="2058" y="1662"/>
                </a:cubicBezTo>
                <a:cubicBezTo>
                  <a:pt x="2151" y="1669"/>
                  <a:pt x="2151" y="1669"/>
                  <a:pt x="2151" y="1669"/>
                </a:cubicBezTo>
                <a:cubicBezTo>
                  <a:pt x="2155" y="1568"/>
                  <a:pt x="2108" y="1475"/>
                  <a:pt x="2031" y="1418"/>
                </a:cubicBezTo>
                <a:close/>
                <a:moveTo>
                  <a:pt x="1377" y="2017"/>
                </a:moveTo>
                <a:cubicBezTo>
                  <a:pt x="1109" y="2150"/>
                  <a:pt x="784" y="2042"/>
                  <a:pt x="650" y="1774"/>
                </a:cubicBezTo>
                <a:cubicBezTo>
                  <a:pt x="517" y="1506"/>
                  <a:pt x="626" y="1180"/>
                  <a:pt x="893" y="1047"/>
                </a:cubicBezTo>
                <a:cubicBezTo>
                  <a:pt x="1161" y="913"/>
                  <a:pt x="1487" y="1022"/>
                  <a:pt x="1620" y="1290"/>
                </a:cubicBezTo>
                <a:cubicBezTo>
                  <a:pt x="1754" y="1558"/>
                  <a:pt x="1645" y="1883"/>
                  <a:pt x="1377" y="2017"/>
                </a:cubicBezTo>
                <a:close/>
                <a:moveTo>
                  <a:pt x="1097" y="1065"/>
                </a:moveTo>
                <a:cubicBezTo>
                  <a:pt x="1145" y="1399"/>
                  <a:pt x="1145" y="1399"/>
                  <a:pt x="1145" y="1399"/>
                </a:cubicBezTo>
                <a:cubicBezTo>
                  <a:pt x="1160" y="1399"/>
                  <a:pt x="1176" y="1402"/>
                  <a:pt x="1191" y="1408"/>
                </a:cubicBezTo>
                <a:cubicBezTo>
                  <a:pt x="1205" y="1414"/>
                  <a:pt x="1218" y="1422"/>
                  <a:pt x="1229" y="1432"/>
                </a:cubicBezTo>
                <a:cubicBezTo>
                  <a:pt x="1491" y="1227"/>
                  <a:pt x="1491" y="1227"/>
                  <a:pt x="1491" y="1227"/>
                </a:cubicBezTo>
                <a:cubicBezTo>
                  <a:pt x="1443" y="1172"/>
                  <a:pt x="1382" y="1126"/>
                  <a:pt x="1310" y="1097"/>
                </a:cubicBezTo>
                <a:cubicBezTo>
                  <a:pt x="1240" y="1069"/>
                  <a:pt x="1168" y="1059"/>
                  <a:pt x="1097" y="1065"/>
                </a:cubicBezTo>
                <a:close/>
                <a:moveTo>
                  <a:pt x="711" y="1335"/>
                </a:moveTo>
                <a:cubicBezTo>
                  <a:pt x="1026" y="1462"/>
                  <a:pt x="1026" y="1462"/>
                  <a:pt x="1026" y="1462"/>
                </a:cubicBezTo>
                <a:cubicBezTo>
                  <a:pt x="1043" y="1435"/>
                  <a:pt x="1068" y="1415"/>
                  <a:pt x="1097" y="1406"/>
                </a:cubicBezTo>
                <a:cubicBezTo>
                  <a:pt x="1050" y="1072"/>
                  <a:pt x="1050" y="1072"/>
                  <a:pt x="1050" y="1072"/>
                </a:cubicBezTo>
                <a:cubicBezTo>
                  <a:pt x="905" y="1099"/>
                  <a:pt x="776" y="1193"/>
                  <a:pt x="711" y="1335"/>
                </a:cubicBezTo>
                <a:close/>
                <a:moveTo>
                  <a:pt x="755" y="1805"/>
                </a:moveTo>
                <a:cubicBezTo>
                  <a:pt x="1021" y="1596"/>
                  <a:pt x="1021" y="1596"/>
                  <a:pt x="1021" y="1596"/>
                </a:cubicBezTo>
                <a:cubicBezTo>
                  <a:pt x="1007" y="1569"/>
                  <a:pt x="1002" y="1538"/>
                  <a:pt x="1008" y="1507"/>
                </a:cubicBezTo>
                <a:cubicBezTo>
                  <a:pt x="693" y="1380"/>
                  <a:pt x="693" y="1380"/>
                  <a:pt x="693" y="1380"/>
                </a:cubicBezTo>
                <a:cubicBezTo>
                  <a:pt x="642" y="1528"/>
                  <a:pt x="670" y="1685"/>
                  <a:pt x="755" y="1805"/>
                </a:cubicBezTo>
                <a:close/>
                <a:moveTo>
                  <a:pt x="1182" y="1998"/>
                </a:moveTo>
                <a:cubicBezTo>
                  <a:pt x="1135" y="1669"/>
                  <a:pt x="1135" y="1669"/>
                  <a:pt x="1135" y="1669"/>
                </a:cubicBezTo>
                <a:cubicBezTo>
                  <a:pt x="1120" y="1668"/>
                  <a:pt x="1105" y="1665"/>
                  <a:pt x="1090" y="1659"/>
                </a:cubicBezTo>
                <a:cubicBezTo>
                  <a:pt x="1075" y="1653"/>
                  <a:pt x="1062" y="1645"/>
                  <a:pt x="1050" y="1634"/>
                </a:cubicBezTo>
                <a:cubicBezTo>
                  <a:pt x="785" y="1842"/>
                  <a:pt x="785" y="1842"/>
                  <a:pt x="785" y="1842"/>
                </a:cubicBezTo>
                <a:cubicBezTo>
                  <a:pt x="832" y="1895"/>
                  <a:pt x="891" y="1938"/>
                  <a:pt x="961" y="1966"/>
                </a:cubicBezTo>
                <a:cubicBezTo>
                  <a:pt x="1033" y="1995"/>
                  <a:pt x="1109" y="2005"/>
                  <a:pt x="1182" y="1998"/>
                </a:cubicBezTo>
                <a:close/>
                <a:moveTo>
                  <a:pt x="1560" y="1728"/>
                </a:moveTo>
                <a:cubicBezTo>
                  <a:pt x="1255" y="1606"/>
                  <a:pt x="1255" y="1606"/>
                  <a:pt x="1255" y="1606"/>
                </a:cubicBezTo>
                <a:cubicBezTo>
                  <a:pt x="1237" y="1633"/>
                  <a:pt x="1212" y="1652"/>
                  <a:pt x="1183" y="1662"/>
                </a:cubicBezTo>
                <a:cubicBezTo>
                  <a:pt x="1229" y="1990"/>
                  <a:pt x="1229" y="1990"/>
                  <a:pt x="1229" y="1990"/>
                </a:cubicBezTo>
                <a:cubicBezTo>
                  <a:pt x="1371" y="1961"/>
                  <a:pt x="1496" y="1867"/>
                  <a:pt x="1560" y="1728"/>
                </a:cubicBezTo>
                <a:close/>
                <a:moveTo>
                  <a:pt x="1520" y="1266"/>
                </a:moveTo>
                <a:cubicBezTo>
                  <a:pt x="1260" y="1470"/>
                  <a:pt x="1260" y="1470"/>
                  <a:pt x="1260" y="1470"/>
                </a:cubicBezTo>
                <a:cubicBezTo>
                  <a:pt x="1274" y="1497"/>
                  <a:pt x="1279" y="1529"/>
                  <a:pt x="1272" y="1561"/>
                </a:cubicBezTo>
                <a:cubicBezTo>
                  <a:pt x="1578" y="1683"/>
                  <a:pt x="1578" y="1683"/>
                  <a:pt x="1578" y="1683"/>
                </a:cubicBezTo>
                <a:cubicBezTo>
                  <a:pt x="1628" y="1538"/>
                  <a:pt x="1602" y="1384"/>
                  <a:pt x="1520" y="12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4"/>
          <p:cNvSpPr>
            <a:spLocks noGrp="1"/>
          </p:cNvSpPr>
          <p:nvPr>
            <p:ph type="body" sz="quarter" idx="10"/>
          </p:nvPr>
        </p:nvSpPr>
        <p:spPr>
          <a:xfrm>
            <a:off x="517525" y="1695450"/>
            <a:ext cx="5404810" cy="2554545"/>
          </a:xfrm>
        </p:spPr>
        <p:txBody>
          <a:bodyPr/>
          <a:lstStyle/>
          <a:p>
            <a:pPr>
              <a:spcBef>
                <a:spcPts val="1200"/>
              </a:spcBef>
              <a:spcAft>
                <a:spcPts val="0"/>
              </a:spcAft>
            </a:pPr>
            <a:r>
              <a:rPr lang="en-US" sz="2800" dirty="0" smtClean="0"/>
              <a:t>Windows Azure Web Sites (10 free!)</a:t>
            </a:r>
          </a:p>
          <a:p>
            <a:pPr>
              <a:spcBef>
                <a:spcPts val="1200"/>
              </a:spcBef>
              <a:spcAft>
                <a:spcPts val="0"/>
              </a:spcAft>
            </a:pPr>
            <a:r>
              <a:rPr lang="en-US" sz="2800" dirty="0" smtClean="0"/>
              <a:t>Fast site creation and deployment</a:t>
            </a:r>
          </a:p>
          <a:p>
            <a:pPr>
              <a:spcBef>
                <a:spcPts val="1200"/>
              </a:spcBef>
              <a:spcAft>
                <a:spcPts val="0"/>
              </a:spcAft>
            </a:pPr>
            <a:r>
              <a:rPr lang="en-US" sz="2800" dirty="0" smtClean="0"/>
              <a:t>Nothing new to learn</a:t>
            </a:r>
          </a:p>
          <a:p>
            <a:pPr>
              <a:spcBef>
                <a:spcPts val="1200"/>
              </a:spcBef>
              <a:spcAft>
                <a:spcPts val="0"/>
              </a:spcAft>
            </a:pPr>
            <a:r>
              <a:rPr lang="en-US" sz="2800" dirty="0" smtClean="0"/>
              <a:t>Easy to scale</a:t>
            </a:r>
          </a:p>
          <a:p>
            <a:pPr>
              <a:spcBef>
                <a:spcPts val="1200"/>
              </a:spcBef>
              <a:spcAft>
                <a:spcPts val="0"/>
              </a:spcAft>
            </a:pPr>
            <a:endParaRPr lang="en-US" sz="2800" dirty="0"/>
          </a:p>
        </p:txBody>
      </p:sp>
    </p:spTree>
    <p:extLst>
      <p:ext uri="{BB962C8B-B14F-4D97-AF65-F5344CB8AC3E}">
        <p14:creationId xmlns:p14="http://schemas.microsoft.com/office/powerpoint/2010/main" val="112825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25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1+#ppt_w/2"/>
                                          </p:val>
                                        </p:tav>
                                        <p:tav tm="100000">
                                          <p:val>
                                            <p:strVal val="#ppt_x"/>
                                          </p:val>
                                        </p:tav>
                                      </p:tavLst>
                                    </p:anim>
                                    <p:anim calcmode="lin" valueType="num">
                                      <p:cBhvr additive="base">
                                        <p:cTn id="24"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indows Azure signup</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04037566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purl.org/dc/term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230e9df3-be65-4c73-a93b-d1236ebd677e"/>
    <ds:schemaRef ds:uri="http://www.w3.org/XML/1998/namespace"/>
    <ds:schemaRef ds:uri="http://purl.org/dc/dcmitype/"/>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550</TotalTime>
  <Words>811</Words>
  <Application>Microsoft Office PowerPoint</Application>
  <PresentationFormat>Custom</PresentationFormat>
  <Paragraphs>126</Paragraphs>
  <Slides>13</Slides>
  <Notes>1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1" baseType="lpstr">
      <vt:lpstr>Arial</vt:lpstr>
      <vt:lpstr>Consolas</vt:lpstr>
      <vt:lpstr>Segoe Light</vt:lpstr>
      <vt:lpstr>Segoe UI Light</vt:lpstr>
      <vt:lpstr>Segoe UI</vt:lpstr>
      <vt:lpstr>MS1444_Windows Azure Template 16x9_r08b</vt:lpstr>
      <vt:lpstr>White with Consolas font for code slides</vt:lpstr>
      <vt:lpstr>think-cell Slide</vt:lpstr>
      <vt:lpstr>WebCamps Online</vt:lpstr>
      <vt:lpstr>Web Camps Keynote</vt:lpstr>
      <vt:lpstr>Agenda </vt:lpstr>
      <vt:lpstr>The foundation: tools &amp; frameworks</vt:lpstr>
      <vt:lpstr>Visual Studio 2012: The editor for serious web dev</vt:lpstr>
      <vt:lpstr>NuGet: The smart, easy way to manage dependencies</vt:lpstr>
      <vt:lpstr>ASP.NET: A Framework For All</vt:lpstr>
      <vt:lpstr>Deploying ASP.NET Apps to the Cloud</vt:lpstr>
      <vt:lpstr>Windows Azure signup</vt:lpstr>
      <vt:lpstr>The foundation: tools &amp; frameworks</vt:lpstr>
      <vt:lpstr>Taking it further: key scenarios</vt:lpstr>
      <vt:lpstr>Resources</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Jon Galloway</cp:lastModifiedBy>
  <cp:revision>310</cp:revision>
  <cp:lastPrinted>2011-10-11T14:25:22Z</cp:lastPrinted>
  <dcterms:created xsi:type="dcterms:W3CDTF">2011-03-29T16:07:22Z</dcterms:created>
  <dcterms:modified xsi:type="dcterms:W3CDTF">2012-11-29T17:30: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